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notesSlides/notesSlide2.xml" ContentType="application/vnd.openxmlformats-officedocument.presentationml.notesSlide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notesSlides/notesSlide3.xml" ContentType="application/vnd.openxmlformats-officedocument.presentationml.notesSlide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diagrams/data24.xml" ContentType="application/vnd.openxmlformats-officedocument.drawingml.diagramData+xml"/>
  <Override PartName="/ppt/diagrams/layout24.xml" ContentType="application/vnd.openxmlformats-officedocument.drawingml.diagramLayout+xml"/>
  <Override PartName="/ppt/diagrams/quickStyle24.xml" ContentType="application/vnd.openxmlformats-officedocument.drawingml.diagramStyle+xml"/>
  <Override PartName="/ppt/diagrams/colors24.xml" ContentType="application/vnd.openxmlformats-officedocument.drawingml.diagramColors+xml"/>
  <Override PartName="/ppt/diagrams/drawing24.xml" ContentType="application/vnd.ms-office.drawingml.diagramDrawing+xml"/>
  <Override PartName="/ppt/diagrams/data25.xml" ContentType="application/vnd.openxmlformats-officedocument.drawingml.diagramData+xml"/>
  <Override PartName="/ppt/diagrams/layout25.xml" ContentType="application/vnd.openxmlformats-officedocument.drawingml.diagramLayout+xml"/>
  <Override PartName="/ppt/diagrams/quickStyle25.xml" ContentType="application/vnd.openxmlformats-officedocument.drawingml.diagramStyle+xml"/>
  <Override PartName="/ppt/diagrams/colors25.xml" ContentType="application/vnd.openxmlformats-officedocument.drawingml.diagramColors+xml"/>
  <Override PartName="/ppt/diagrams/drawing25.xml" ContentType="application/vnd.ms-office.drawingml.diagramDrawing+xml"/>
  <Override PartName="/ppt/diagrams/data26.xml" ContentType="application/vnd.openxmlformats-officedocument.drawingml.diagramData+xml"/>
  <Override PartName="/ppt/diagrams/layout26.xml" ContentType="application/vnd.openxmlformats-officedocument.drawingml.diagramLayout+xml"/>
  <Override PartName="/ppt/diagrams/quickStyle26.xml" ContentType="application/vnd.openxmlformats-officedocument.drawingml.diagramStyle+xml"/>
  <Override PartName="/ppt/diagrams/colors26.xml" ContentType="application/vnd.openxmlformats-officedocument.drawingml.diagramColors+xml"/>
  <Override PartName="/ppt/diagrams/drawing26.xml" ContentType="application/vnd.ms-office.drawingml.diagramDrawing+xml"/>
  <Override PartName="/ppt/diagrams/data27.xml" ContentType="application/vnd.openxmlformats-officedocument.drawingml.diagramData+xml"/>
  <Override PartName="/ppt/diagrams/layout27.xml" ContentType="application/vnd.openxmlformats-officedocument.drawingml.diagramLayout+xml"/>
  <Override PartName="/ppt/diagrams/quickStyle27.xml" ContentType="application/vnd.openxmlformats-officedocument.drawingml.diagramStyle+xml"/>
  <Override PartName="/ppt/diagrams/colors27.xml" ContentType="application/vnd.openxmlformats-officedocument.drawingml.diagramColors+xml"/>
  <Override PartName="/ppt/diagrams/drawing27.xml" ContentType="application/vnd.ms-office.drawingml.diagramDrawing+xml"/>
  <Override PartName="/ppt/diagrams/data28.xml" ContentType="application/vnd.openxmlformats-officedocument.drawingml.diagramData+xml"/>
  <Override PartName="/ppt/diagrams/layout28.xml" ContentType="application/vnd.openxmlformats-officedocument.drawingml.diagramLayout+xml"/>
  <Override PartName="/ppt/diagrams/quickStyle28.xml" ContentType="application/vnd.openxmlformats-officedocument.drawingml.diagramStyle+xml"/>
  <Override PartName="/ppt/diagrams/colors28.xml" ContentType="application/vnd.openxmlformats-officedocument.drawingml.diagramColors+xml"/>
  <Override PartName="/ppt/diagrams/drawing28.xml" ContentType="application/vnd.ms-office.drawingml.diagramDrawing+xml"/>
  <Override PartName="/ppt/diagrams/data29.xml" ContentType="application/vnd.openxmlformats-officedocument.drawingml.diagramData+xml"/>
  <Override PartName="/ppt/diagrams/layout29.xml" ContentType="application/vnd.openxmlformats-officedocument.drawingml.diagramLayout+xml"/>
  <Override PartName="/ppt/diagrams/quickStyle29.xml" ContentType="application/vnd.openxmlformats-officedocument.drawingml.diagramStyle+xml"/>
  <Override PartName="/ppt/diagrams/colors29.xml" ContentType="application/vnd.openxmlformats-officedocument.drawingml.diagramColors+xml"/>
  <Override PartName="/ppt/diagrams/drawing29.xml" ContentType="application/vnd.ms-office.drawingml.diagramDrawing+xml"/>
  <Override PartName="/ppt/diagrams/data30.xml" ContentType="application/vnd.openxmlformats-officedocument.drawingml.diagramData+xml"/>
  <Override PartName="/ppt/diagrams/layout30.xml" ContentType="application/vnd.openxmlformats-officedocument.drawingml.diagramLayout+xml"/>
  <Override PartName="/ppt/diagrams/quickStyle30.xml" ContentType="application/vnd.openxmlformats-officedocument.drawingml.diagramStyle+xml"/>
  <Override PartName="/ppt/diagrams/colors30.xml" ContentType="application/vnd.openxmlformats-officedocument.drawingml.diagramColors+xml"/>
  <Override PartName="/ppt/diagrams/drawing30.xml" ContentType="application/vnd.ms-office.drawingml.diagramDrawing+xml"/>
  <Override PartName="/ppt/diagrams/data31.xml" ContentType="application/vnd.openxmlformats-officedocument.drawingml.diagramData+xml"/>
  <Override PartName="/ppt/diagrams/layout31.xml" ContentType="application/vnd.openxmlformats-officedocument.drawingml.diagramLayout+xml"/>
  <Override PartName="/ppt/diagrams/quickStyle31.xml" ContentType="application/vnd.openxmlformats-officedocument.drawingml.diagramStyle+xml"/>
  <Override PartName="/ppt/diagrams/colors31.xml" ContentType="application/vnd.openxmlformats-officedocument.drawingml.diagramColors+xml"/>
  <Override PartName="/ppt/diagrams/drawing31.xml" ContentType="application/vnd.ms-office.drawingml.diagramDrawing+xml"/>
  <Override PartName="/ppt/diagrams/data32.xml" ContentType="application/vnd.openxmlformats-officedocument.drawingml.diagramData+xml"/>
  <Override PartName="/ppt/diagrams/layout32.xml" ContentType="application/vnd.openxmlformats-officedocument.drawingml.diagramLayout+xml"/>
  <Override PartName="/ppt/diagrams/quickStyle32.xml" ContentType="application/vnd.openxmlformats-officedocument.drawingml.diagramStyle+xml"/>
  <Override PartName="/ppt/diagrams/colors32.xml" ContentType="application/vnd.openxmlformats-officedocument.drawingml.diagramColors+xml"/>
  <Override PartName="/ppt/diagrams/drawing32.xml" ContentType="application/vnd.ms-office.drawingml.diagramDrawing+xml"/>
  <Override PartName="/ppt/diagrams/data33.xml" ContentType="application/vnd.openxmlformats-officedocument.drawingml.diagramData+xml"/>
  <Override PartName="/ppt/diagrams/layout33.xml" ContentType="application/vnd.openxmlformats-officedocument.drawingml.diagramLayout+xml"/>
  <Override PartName="/ppt/diagrams/quickStyle33.xml" ContentType="application/vnd.openxmlformats-officedocument.drawingml.diagramStyle+xml"/>
  <Override PartName="/ppt/diagrams/colors33.xml" ContentType="application/vnd.openxmlformats-officedocument.drawingml.diagramColors+xml"/>
  <Override PartName="/ppt/diagrams/drawing33.xml" ContentType="application/vnd.ms-office.drawingml.diagramDrawing+xml"/>
  <Override PartName="/ppt/diagrams/data34.xml" ContentType="application/vnd.openxmlformats-officedocument.drawingml.diagramData+xml"/>
  <Override PartName="/ppt/diagrams/layout34.xml" ContentType="application/vnd.openxmlformats-officedocument.drawingml.diagramLayout+xml"/>
  <Override PartName="/ppt/diagrams/quickStyle34.xml" ContentType="application/vnd.openxmlformats-officedocument.drawingml.diagramStyle+xml"/>
  <Override PartName="/ppt/diagrams/colors34.xml" ContentType="application/vnd.openxmlformats-officedocument.drawingml.diagramColors+xml"/>
  <Override PartName="/ppt/diagrams/drawing34.xml" ContentType="application/vnd.ms-office.drawingml.diagramDrawing+xml"/>
  <Override PartName="/ppt/diagrams/data35.xml" ContentType="application/vnd.openxmlformats-officedocument.drawingml.diagramData+xml"/>
  <Override PartName="/ppt/diagrams/layout35.xml" ContentType="application/vnd.openxmlformats-officedocument.drawingml.diagramLayout+xml"/>
  <Override PartName="/ppt/diagrams/quickStyle35.xml" ContentType="application/vnd.openxmlformats-officedocument.drawingml.diagramStyle+xml"/>
  <Override PartName="/ppt/diagrams/colors35.xml" ContentType="application/vnd.openxmlformats-officedocument.drawingml.diagramColors+xml"/>
  <Override PartName="/ppt/diagrams/drawing35.xml" ContentType="application/vnd.ms-office.drawingml.diagramDrawing+xml"/>
  <Override PartName="/ppt/diagrams/data36.xml" ContentType="application/vnd.openxmlformats-officedocument.drawingml.diagramData+xml"/>
  <Override PartName="/ppt/diagrams/layout36.xml" ContentType="application/vnd.openxmlformats-officedocument.drawingml.diagramLayout+xml"/>
  <Override PartName="/ppt/diagrams/quickStyle36.xml" ContentType="application/vnd.openxmlformats-officedocument.drawingml.diagramStyle+xml"/>
  <Override PartName="/ppt/diagrams/colors36.xml" ContentType="application/vnd.openxmlformats-officedocument.drawingml.diagramColors+xml"/>
  <Override PartName="/ppt/diagrams/drawing36.xml" ContentType="application/vnd.ms-office.drawingml.diagramDrawing+xml"/>
  <Override PartName="/ppt/diagrams/data37.xml" ContentType="application/vnd.openxmlformats-officedocument.drawingml.diagramData+xml"/>
  <Override PartName="/ppt/diagrams/layout37.xml" ContentType="application/vnd.openxmlformats-officedocument.drawingml.diagramLayout+xml"/>
  <Override PartName="/ppt/diagrams/quickStyle37.xml" ContentType="application/vnd.openxmlformats-officedocument.drawingml.diagramStyle+xml"/>
  <Override PartName="/ppt/diagrams/colors37.xml" ContentType="application/vnd.openxmlformats-officedocument.drawingml.diagramColors+xml"/>
  <Override PartName="/ppt/diagrams/drawing37.xml" ContentType="application/vnd.ms-office.drawingml.diagramDrawing+xml"/>
  <Override PartName="/ppt/diagrams/data38.xml" ContentType="application/vnd.openxmlformats-officedocument.drawingml.diagramData+xml"/>
  <Override PartName="/ppt/diagrams/layout38.xml" ContentType="application/vnd.openxmlformats-officedocument.drawingml.diagramLayout+xml"/>
  <Override PartName="/ppt/diagrams/quickStyle38.xml" ContentType="application/vnd.openxmlformats-officedocument.drawingml.diagramStyle+xml"/>
  <Override PartName="/ppt/diagrams/colors38.xml" ContentType="application/vnd.openxmlformats-officedocument.drawingml.diagramColors+xml"/>
  <Override PartName="/ppt/diagrams/drawing38.xml" ContentType="application/vnd.ms-office.drawingml.diagramDrawing+xml"/>
  <Override PartName="/ppt/diagrams/data39.xml" ContentType="application/vnd.openxmlformats-officedocument.drawingml.diagramData+xml"/>
  <Override PartName="/ppt/diagrams/layout39.xml" ContentType="application/vnd.openxmlformats-officedocument.drawingml.diagramLayout+xml"/>
  <Override PartName="/ppt/diagrams/quickStyle39.xml" ContentType="application/vnd.openxmlformats-officedocument.drawingml.diagramStyle+xml"/>
  <Override PartName="/ppt/diagrams/colors39.xml" ContentType="application/vnd.openxmlformats-officedocument.drawingml.diagramColors+xml"/>
  <Override PartName="/ppt/diagrams/drawing39.xml" ContentType="application/vnd.ms-office.drawingml.diagramDrawing+xml"/>
  <Override PartName="/ppt/diagrams/data40.xml" ContentType="application/vnd.openxmlformats-officedocument.drawingml.diagramData+xml"/>
  <Override PartName="/ppt/diagrams/layout40.xml" ContentType="application/vnd.openxmlformats-officedocument.drawingml.diagramLayout+xml"/>
  <Override PartName="/ppt/diagrams/quickStyle40.xml" ContentType="application/vnd.openxmlformats-officedocument.drawingml.diagramStyle+xml"/>
  <Override PartName="/ppt/diagrams/colors40.xml" ContentType="application/vnd.openxmlformats-officedocument.drawingml.diagramColors+xml"/>
  <Override PartName="/ppt/diagrams/drawing40.xml" ContentType="application/vnd.ms-office.drawingml.diagramDrawing+xml"/>
  <Override PartName="/ppt/diagrams/data41.xml" ContentType="application/vnd.openxmlformats-officedocument.drawingml.diagramData+xml"/>
  <Override PartName="/ppt/diagrams/layout41.xml" ContentType="application/vnd.openxmlformats-officedocument.drawingml.diagramLayout+xml"/>
  <Override PartName="/ppt/diagrams/quickStyle41.xml" ContentType="application/vnd.openxmlformats-officedocument.drawingml.diagramStyle+xml"/>
  <Override PartName="/ppt/diagrams/colors41.xml" ContentType="application/vnd.openxmlformats-officedocument.drawingml.diagramColors+xml"/>
  <Override PartName="/ppt/diagrams/drawing41.xml" ContentType="application/vnd.ms-office.drawingml.diagramDrawing+xml"/>
  <Override PartName="/ppt/diagrams/data42.xml" ContentType="application/vnd.openxmlformats-officedocument.drawingml.diagramData+xml"/>
  <Override PartName="/ppt/diagrams/layout42.xml" ContentType="application/vnd.openxmlformats-officedocument.drawingml.diagramLayout+xml"/>
  <Override PartName="/ppt/diagrams/quickStyle42.xml" ContentType="application/vnd.openxmlformats-officedocument.drawingml.diagramStyle+xml"/>
  <Override PartName="/ppt/diagrams/colors42.xml" ContentType="application/vnd.openxmlformats-officedocument.drawingml.diagramColors+xml"/>
  <Override PartName="/ppt/diagrams/drawing42.xml" ContentType="application/vnd.ms-office.drawingml.diagramDrawing+xml"/>
  <Override PartName="/ppt/notesSlides/notesSlide4.xml" ContentType="application/vnd.openxmlformats-officedocument.presentationml.notesSlide+xml"/>
  <Override PartName="/ppt/diagrams/data43.xml" ContentType="application/vnd.openxmlformats-officedocument.drawingml.diagramData+xml"/>
  <Override PartName="/ppt/diagrams/layout43.xml" ContentType="application/vnd.openxmlformats-officedocument.drawingml.diagramLayout+xml"/>
  <Override PartName="/ppt/diagrams/quickStyle43.xml" ContentType="application/vnd.openxmlformats-officedocument.drawingml.diagramStyle+xml"/>
  <Override PartName="/ppt/diagrams/colors43.xml" ContentType="application/vnd.openxmlformats-officedocument.drawingml.diagramColors+xml"/>
  <Override PartName="/ppt/diagrams/drawing43.xml" ContentType="application/vnd.ms-office.drawingml.diagramDrawing+xml"/>
  <Override PartName="/ppt/diagrams/data44.xml" ContentType="application/vnd.openxmlformats-officedocument.drawingml.diagramData+xml"/>
  <Override PartName="/ppt/diagrams/layout44.xml" ContentType="application/vnd.openxmlformats-officedocument.drawingml.diagramLayout+xml"/>
  <Override PartName="/ppt/diagrams/quickStyle44.xml" ContentType="application/vnd.openxmlformats-officedocument.drawingml.diagramStyle+xml"/>
  <Override PartName="/ppt/diagrams/colors44.xml" ContentType="application/vnd.openxmlformats-officedocument.drawingml.diagramColors+xml"/>
  <Override PartName="/ppt/diagrams/drawing44.xml" ContentType="application/vnd.ms-office.drawingml.diagramDrawing+xml"/>
  <Override PartName="/ppt/diagrams/data45.xml" ContentType="application/vnd.openxmlformats-officedocument.drawingml.diagramData+xml"/>
  <Override PartName="/ppt/diagrams/layout45.xml" ContentType="application/vnd.openxmlformats-officedocument.drawingml.diagramLayout+xml"/>
  <Override PartName="/ppt/diagrams/quickStyle45.xml" ContentType="application/vnd.openxmlformats-officedocument.drawingml.diagramStyle+xml"/>
  <Override PartName="/ppt/diagrams/colors45.xml" ContentType="application/vnd.openxmlformats-officedocument.drawingml.diagramColors+xml"/>
  <Override PartName="/ppt/diagrams/drawing45.xml" ContentType="application/vnd.ms-office.drawingml.diagramDrawing+xml"/>
  <Override PartName="/ppt/diagrams/data46.xml" ContentType="application/vnd.openxmlformats-officedocument.drawingml.diagramData+xml"/>
  <Override PartName="/ppt/diagrams/layout46.xml" ContentType="application/vnd.openxmlformats-officedocument.drawingml.diagramLayout+xml"/>
  <Override PartName="/ppt/diagrams/quickStyle46.xml" ContentType="application/vnd.openxmlformats-officedocument.drawingml.diagramStyle+xml"/>
  <Override PartName="/ppt/diagrams/colors46.xml" ContentType="application/vnd.openxmlformats-officedocument.drawingml.diagramColors+xml"/>
  <Override PartName="/ppt/diagrams/drawing46.xml" ContentType="application/vnd.ms-office.drawingml.diagramDrawing+xml"/>
  <Override PartName="/ppt/diagrams/data47.xml" ContentType="application/vnd.openxmlformats-officedocument.drawingml.diagramData+xml"/>
  <Override PartName="/ppt/diagrams/layout47.xml" ContentType="application/vnd.openxmlformats-officedocument.drawingml.diagramLayout+xml"/>
  <Override PartName="/ppt/diagrams/quickStyle47.xml" ContentType="application/vnd.openxmlformats-officedocument.drawingml.diagramStyle+xml"/>
  <Override PartName="/ppt/diagrams/colors47.xml" ContentType="application/vnd.openxmlformats-officedocument.drawingml.diagramColors+xml"/>
  <Override PartName="/ppt/diagrams/drawing47.xml" ContentType="application/vnd.ms-office.drawingml.diagramDrawing+xml"/>
  <Override PartName="/ppt/diagrams/data48.xml" ContentType="application/vnd.openxmlformats-officedocument.drawingml.diagramData+xml"/>
  <Override PartName="/ppt/diagrams/layout48.xml" ContentType="application/vnd.openxmlformats-officedocument.drawingml.diagramLayout+xml"/>
  <Override PartName="/ppt/diagrams/quickStyle48.xml" ContentType="application/vnd.openxmlformats-officedocument.drawingml.diagramStyle+xml"/>
  <Override PartName="/ppt/diagrams/colors48.xml" ContentType="application/vnd.openxmlformats-officedocument.drawingml.diagramColors+xml"/>
  <Override PartName="/ppt/diagrams/drawing48.xml" ContentType="application/vnd.ms-office.drawingml.diagramDrawing+xml"/>
  <Override PartName="/ppt/diagrams/data49.xml" ContentType="application/vnd.openxmlformats-officedocument.drawingml.diagramData+xml"/>
  <Override PartName="/ppt/diagrams/layout49.xml" ContentType="application/vnd.openxmlformats-officedocument.drawingml.diagramLayout+xml"/>
  <Override PartName="/ppt/diagrams/quickStyle49.xml" ContentType="application/vnd.openxmlformats-officedocument.drawingml.diagramStyle+xml"/>
  <Override PartName="/ppt/diagrams/colors49.xml" ContentType="application/vnd.openxmlformats-officedocument.drawingml.diagramColors+xml"/>
  <Override PartName="/ppt/diagrams/drawing49.xml" ContentType="application/vnd.ms-office.drawingml.diagramDrawing+xml"/>
  <Override PartName="/ppt/diagrams/data50.xml" ContentType="application/vnd.openxmlformats-officedocument.drawingml.diagramData+xml"/>
  <Override PartName="/ppt/diagrams/layout50.xml" ContentType="application/vnd.openxmlformats-officedocument.drawingml.diagramLayout+xml"/>
  <Override PartName="/ppt/diagrams/quickStyle50.xml" ContentType="application/vnd.openxmlformats-officedocument.drawingml.diagramStyle+xml"/>
  <Override PartName="/ppt/diagrams/colors50.xml" ContentType="application/vnd.openxmlformats-officedocument.drawingml.diagramColors+xml"/>
  <Override PartName="/ppt/diagrams/drawing50.xml" ContentType="application/vnd.ms-office.drawingml.diagramDrawing+xml"/>
  <Override PartName="/ppt/diagrams/data51.xml" ContentType="application/vnd.openxmlformats-officedocument.drawingml.diagramData+xml"/>
  <Override PartName="/ppt/diagrams/layout51.xml" ContentType="application/vnd.openxmlformats-officedocument.drawingml.diagramLayout+xml"/>
  <Override PartName="/ppt/diagrams/quickStyle51.xml" ContentType="application/vnd.openxmlformats-officedocument.drawingml.diagramStyle+xml"/>
  <Override PartName="/ppt/diagrams/colors51.xml" ContentType="application/vnd.openxmlformats-officedocument.drawingml.diagramColors+xml"/>
  <Override PartName="/ppt/diagrams/drawing51.xml" ContentType="application/vnd.ms-office.drawingml.diagramDrawing+xml"/>
  <Override PartName="/ppt/diagrams/data52.xml" ContentType="application/vnd.openxmlformats-officedocument.drawingml.diagramData+xml"/>
  <Override PartName="/ppt/diagrams/layout52.xml" ContentType="application/vnd.openxmlformats-officedocument.drawingml.diagramLayout+xml"/>
  <Override PartName="/ppt/diagrams/quickStyle52.xml" ContentType="application/vnd.openxmlformats-officedocument.drawingml.diagramStyle+xml"/>
  <Override PartName="/ppt/diagrams/colors52.xml" ContentType="application/vnd.openxmlformats-officedocument.drawingml.diagramColors+xml"/>
  <Override PartName="/ppt/diagrams/drawing52.xml" ContentType="application/vnd.ms-office.drawingml.diagramDrawing+xml"/>
  <Override PartName="/ppt/diagrams/data53.xml" ContentType="application/vnd.openxmlformats-officedocument.drawingml.diagramData+xml"/>
  <Override PartName="/ppt/diagrams/layout53.xml" ContentType="application/vnd.openxmlformats-officedocument.drawingml.diagramLayout+xml"/>
  <Override PartName="/ppt/diagrams/quickStyle53.xml" ContentType="application/vnd.openxmlformats-officedocument.drawingml.diagramStyle+xml"/>
  <Override PartName="/ppt/diagrams/colors53.xml" ContentType="application/vnd.openxmlformats-officedocument.drawingml.diagramColors+xml"/>
  <Override PartName="/ppt/diagrams/drawing53.xml" ContentType="application/vnd.ms-office.drawingml.diagramDrawing+xml"/>
  <Override PartName="/ppt/diagrams/data54.xml" ContentType="application/vnd.openxmlformats-officedocument.drawingml.diagramData+xml"/>
  <Override PartName="/ppt/diagrams/layout54.xml" ContentType="application/vnd.openxmlformats-officedocument.drawingml.diagramLayout+xml"/>
  <Override PartName="/ppt/diagrams/quickStyle54.xml" ContentType="application/vnd.openxmlformats-officedocument.drawingml.diagramStyle+xml"/>
  <Override PartName="/ppt/diagrams/colors54.xml" ContentType="application/vnd.openxmlformats-officedocument.drawingml.diagramColors+xml"/>
  <Override PartName="/ppt/diagrams/drawing54.xml" ContentType="application/vnd.ms-office.drawingml.diagramDrawing+xml"/>
  <Override PartName="/ppt/diagrams/data55.xml" ContentType="application/vnd.openxmlformats-officedocument.drawingml.diagramData+xml"/>
  <Override PartName="/ppt/diagrams/layout55.xml" ContentType="application/vnd.openxmlformats-officedocument.drawingml.diagramLayout+xml"/>
  <Override PartName="/ppt/diagrams/quickStyle55.xml" ContentType="application/vnd.openxmlformats-officedocument.drawingml.diagramStyle+xml"/>
  <Override PartName="/ppt/diagrams/colors55.xml" ContentType="application/vnd.openxmlformats-officedocument.drawingml.diagramColors+xml"/>
  <Override PartName="/ppt/diagrams/drawing55.xml" ContentType="application/vnd.ms-office.drawingml.diagramDrawing+xml"/>
  <Override PartName="/ppt/diagrams/data56.xml" ContentType="application/vnd.openxmlformats-officedocument.drawingml.diagramData+xml"/>
  <Override PartName="/ppt/diagrams/layout56.xml" ContentType="application/vnd.openxmlformats-officedocument.drawingml.diagramLayout+xml"/>
  <Override PartName="/ppt/diagrams/quickStyle56.xml" ContentType="application/vnd.openxmlformats-officedocument.drawingml.diagramStyle+xml"/>
  <Override PartName="/ppt/diagrams/colors56.xml" ContentType="application/vnd.openxmlformats-officedocument.drawingml.diagramColors+xml"/>
  <Override PartName="/ppt/diagrams/drawing56.xml" ContentType="application/vnd.ms-office.drawingml.diagramDrawing+xml"/>
  <Override PartName="/ppt/diagrams/data57.xml" ContentType="application/vnd.openxmlformats-officedocument.drawingml.diagramData+xml"/>
  <Override PartName="/ppt/diagrams/layout57.xml" ContentType="application/vnd.openxmlformats-officedocument.drawingml.diagramLayout+xml"/>
  <Override PartName="/ppt/diagrams/quickStyle57.xml" ContentType="application/vnd.openxmlformats-officedocument.drawingml.diagramStyle+xml"/>
  <Override PartName="/ppt/diagrams/colors57.xml" ContentType="application/vnd.openxmlformats-officedocument.drawingml.diagramColors+xml"/>
  <Override PartName="/ppt/diagrams/drawing57.xml" ContentType="application/vnd.ms-office.drawingml.diagramDrawing+xml"/>
  <Override PartName="/ppt/diagrams/data58.xml" ContentType="application/vnd.openxmlformats-officedocument.drawingml.diagramData+xml"/>
  <Override PartName="/ppt/diagrams/layout58.xml" ContentType="application/vnd.openxmlformats-officedocument.drawingml.diagramLayout+xml"/>
  <Override PartName="/ppt/diagrams/quickStyle58.xml" ContentType="application/vnd.openxmlformats-officedocument.drawingml.diagramStyle+xml"/>
  <Override PartName="/ppt/diagrams/colors58.xml" ContentType="application/vnd.openxmlformats-officedocument.drawingml.diagramColors+xml"/>
  <Override PartName="/ppt/diagrams/drawing58.xml" ContentType="application/vnd.ms-office.drawingml.diagramDrawing+xml"/>
  <Override PartName="/ppt/notesSlides/notesSlide5.xml" ContentType="application/vnd.openxmlformats-officedocument.presentationml.notesSlide+xml"/>
  <Override PartName="/ppt/diagrams/data59.xml" ContentType="application/vnd.openxmlformats-officedocument.drawingml.diagramData+xml"/>
  <Override PartName="/ppt/diagrams/layout59.xml" ContentType="application/vnd.openxmlformats-officedocument.drawingml.diagramLayout+xml"/>
  <Override PartName="/ppt/diagrams/quickStyle59.xml" ContentType="application/vnd.openxmlformats-officedocument.drawingml.diagramStyle+xml"/>
  <Override PartName="/ppt/diagrams/colors59.xml" ContentType="application/vnd.openxmlformats-officedocument.drawingml.diagramColors+xml"/>
  <Override PartName="/ppt/diagrams/drawing59.xml" ContentType="application/vnd.ms-office.drawingml.diagramDrawing+xml"/>
  <Override PartName="/ppt/diagrams/data60.xml" ContentType="application/vnd.openxmlformats-officedocument.drawingml.diagramData+xml"/>
  <Override PartName="/ppt/diagrams/layout60.xml" ContentType="application/vnd.openxmlformats-officedocument.drawingml.diagramLayout+xml"/>
  <Override PartName="/ppt/diagrams/quickStyle60.xml" ContentType="application/vnd.openxmlformats-officedocument.drawingml.diagramStyle+xml"/>
  <Override PartName="/ppt/diagrams/colors60.xml" ContentType="application/vnd.openxmlformats-officedocument.drawingml.diagramColors+xml"/>
  <Override PartName="/ppt/diagrams/drawing60.xml" ContentType="application/vnd.ms-office.drawingml.diagramDrawing+xml"/>
  <Override PartName="/ppt/diagrams/data61.xml" ContentType="application/vnd.openxmlformats-officedocument.drawingml.diagramData+xml"/>
  <Override PartName="/ppt/diagrams/layout61.xml" ContentType="application/vnd.openxmlformats-officedocument.drawingml.diagramLayout+xml"/>
  <Override PartName="/ppt/diagrams/quickStyle61.xml" ContentType="application/vnd.openxmlformats-officedocument.drawingml.diagramStyle+xml"/>
  <Override PartName="/ppt/diagrams/colors61.xml" ContentType="application/vnd.openxmlformats-officedocument.drawingml.diagramColors+xml"/>
  <Override PartName="/ppt/diagrams/drawing61.xml" ContentType="application/vnd.ms-office.drawingml.diagramDrawing+xml"/>
  <Override PartName="/ppt/diagrams/data62.xml" ContentType="application/vnd.openxmlformats-officedocument.drawingml.diagramData+xml"/>
  <Override PartName="/ppt/diagrams/layout62.xml" ContentType="application/vnd.openxmlformats-officedocument.drawingml.diagramLayout+xml"/>
  <Override PartName="/ppt/diagrams/quickStyle62.xml" ContentType="application/vnd.openxmlformats-officedocument.drawingml.diagramStyle+xml"/>
  <Override PartName="/ppt/diagrams/colors62.xml" ContentType="application/vnd.openxmlformats-officedocument.drawingml.diagramColors+xml"/>
  <Override PartName="/ppt/diagrams/drawing62.xml" ContentType="application/vnd.ms-office.drawingml.diagramDrawing+xml"/>
  <Override PartName="/ppt/diagrams/data63.xml" ContentType="application/vnd.openxmlformats-officedocument.drawingml.diagramData+xml"/>
  <Override PartName="/ppt/diagrams/layout63.xml" ContentType="application/vnd.openxmlformats-officedocument.drawingml.diagramLayout+xml"/>
  <Override PartName="/ppt/diagrams/quickStyle63.xml" ContentType="application/vnd.openxmlformats-officedocument.drawingml.diagramStyle+xml"/>
  <Override PartName="/ppt/diagrams/colors63.xml" ContentType="application/vnd.openxmlformats-officedocument.drawingml.diagramColors+xml"/>
  <Override PartName="/ppt/diagrams/drawing63.xml" ContentType="application/vnd.ms-office.drawingml.diagramDrawing+xml"/>
  <Override PartName="/ppt/diagrams/data64.xml" ContentType="application/vnd.openxmlformats-officedocument.drawingml.diagramData+xml"/>
  <Override PartName="/ppt/diagrams/layout64.xml" ContentType="application/vnd.openxmlformats-officedocument.drawingml.diagramLayout+xml"/>
  <Override PartName="/ppt/diagrams/quickStyle64.xml" ContentType="application/vnd.openxmlformats-officedocument.drawingml.diagramStyle+xml"/>
  <Override PartName="/ppt/diagrams/colors64.xml" ContentType="application/vnd.openxmlformats-officedocument.drawingml.diagramColors+xml"/>
  <Override PartName="/ppt/diagrams/drawing64.xml" ContentType="application/vnd.ms-office.drawingml.diagramDrawing+xml"/>
  <Override PartName="/ppt/diagrams/data65.xml" ContentType="application/vnd.openxmlformats-officedocument.drawingml.diagramData+xml"/>
  <Override PartName="/ppt/diagrams/layout65.xml" ContentType="application/vnd.openxmlformats-officedocument.drawingml.diagramLayout+xml"/>
  <Override PartName="/ppt/diagrams/quickStyle65.xml" ContentType="application/vnd.openxmlformats-officedocument.drawingml.diagramStyle+xml"/>
  <Override PartName="/ppt/diagrams/colors65.xml" ContentType="application/vnd.openxmlformats-officedocument.drawingml.diagramColors+xml"/>
  <Override PartName="/ppt/diagrams/drawing65.xml" ContentType="application/vnd.ms-office.drawingml.diagramDrawing+xml"/>
  <Override PartName="/ppt/diagrams/data66.xml" ContentType="application/vnd.openxmlformats-officedocument.drawingml.diagramData+xml"/>
  <Override PartName="/ppt/diagrams/layout66.xml" ContentType="application/vnd.openxmlformats-officedocument.drawingml.diagramLayout+xml"/>
  <Override PartName="/ppt/diagrams/quickStyle66.xml" ContentType="application/vnd.openxmlformats-officedocument.drawingml.diagramStyle+xml"/>
  <Override PartName="/ppt/diagrams/colors66.xml" ContentType="application/vnd.openxmlformats-officedocument.drawingml.diagramColors+xml"/>
  <Override PartName="/ppt/diagrams/drawing66.xml" ContentType="application/vnd.ms-office.drawingml.diagramDrawing+xml"/>
  <Override PartName="/ppt/diagrams/data67.xml" ContentType="application/vnd.openxmlformats-officedocument.drawingml.diagramData+xml"/>
  <Override PartName="/ppt/diagrams/layout67.xml" ContentType="application/vnd.openxmlformats-officedocument.drawingml.diagramLayout+xml"/>
  <Override PartName="/ppt/diagrams/quickStyle67.xml" ContentType="application/vnd.openxmlformats-officedocument.drawingml.diagramStyle+xml"/>
  <Override PartName="/ppt/diagrams/colors67.xml" ContentType="application/vnd.openxmlformats-officedocument.drawingml.diagramColors+xml"/>
  <Override PartName="/ppt/diagrams/drawing67.xml" ContentType="application/vnd.ms-office.drawingml.diagramDrawing+xml"/>
  <Override PartName="/ppt/diagrams/data68.xml" ContentType="application/vnd.openxmlformats-officedocument.drawingml.diagramData+xml"/>
  <Override PartName="/ppt/diagrams/layout68.xml" ContentType="application/vnd.openxmlformats-officedocument.drawingml.diagramLayout+xml"/>
  <Override PartName="/ppt/diagrams/quickStyle68.xml" ContentType="application/vnd.openxmlformats-officedocument.drawingml.diagramStyle+xml"/>
  <Override PartName="/ppt/diagrams/colors68.xml" ContentType="application/vnd.openxmlformats-officedocument.drawingml.diagramColors+xml"/>
  <Override PartName="/ppt/diagrams/drawing68.xml" ContentType="application/vnd.ms-office.drawingml.diagramDrawing+xml"/>
  <Override PartName="/ppt/diagrams/data69.xml" ContentType="application/vnd.openxmlformats-officedocument.drawingml.diagramData+xml"/>
  <Override PartName="/ppt/diagrams/layout69.xml" ContentType="application/vnd.openxmlformats-officedocument.drawingml.diagramLayout+xml"/>
  <Override PartName="/ppt/diagrams/quickStyle69.xml" ContentType="application/vnd.openxmlformats-officedocument.drawingml.diagramStyle+xml"/>
  <Override PartName="/ppt/diagrams/colors69.xml" ContentType="application/vnd.openxmlformats-officedocument.drawingml.diagramColors+xml"/>
  <Override PartName="/ppt/diagrams/drawing69.xml" ContentType="application/vnd.ms-office.drawingml.diagramDrawing+xml"/>
  <Override PartName="/ppt/diagrams/data70.xml" ContentType="application/vnd.openxmlformats-officedocument.drawingml.diagramData+xml"/>
  <Override PartName="/ppt/diagrams/layout70.xml" ContentType="application/vnd.openxmlformats-officedocument.drawingml.diagramLayout+xml"/>
  <Override PartName="/ppt/diagrams/quickStyle70.xml" ContentType="application/vnd.openxmlformats-officedocument.drawingml.diagramStyle+xml"/>
  <Override PartName="/ppt/diagrams/colors70.xml" ContentType="application/vnd.openxmlformats-officedocument.drawingml.diagramColors+xml"/>
  <Override PartName="/ppt/diagrams/drawing70.xml" ContentType="application/vnd.ms-office.drawingml.diagramDrawing+xml"/>
  <Override PartName="/ppt/diagrams/data71.xml" ContentType="application/vnd.openxmlformats-officedocument.drawingml.diagramData+xml"/>
  <Override PartName="/ppt/diagrams/layout71.xml" ContentType="application/vnd.openxmlformats-officedocument.drawingml.diagramLayout+xml"/>
  <Override PartName="/ppt/diagrams/quickStyle71.xml" ContentType="application/vnd.openxmlformats-officedocument.drawingml.diagramStyle+xml"/>
  <Override PartName="/ppt/diagrams/colors71.xml" ContentType="application/vnd.openxmlformats-officedocument.drawingml.diagramColors+xml"/>
  <Override PartName="/ppt/diagrams/drawing71.xml" ContentType="application/vnd.ms-office.drawingml.diagramDrawing+xml"/>
  <Override PartName="/ppt/diagrams/data72.xml" ContentType="application/vnd.openxmlformats-officedocument.drawingml.diagramData+xml"/>
  <Override PartName="/ppt/diagrams/layout72.xml" ContentType="application/vnd.openxmlformats-officedocument.drawingml.diagramLayout+xml"/>
  <Override PartName="/ppt/diagrams/quickStyle72.xml" ContentType="application/vnd.openxmlformats-officedocument.drawingml.diagramStyle+xml"/>
  <Override PartName="/ppt/diagrams/colors72.xml" ContentType="application/vnd.openxmlformats-officedocument.drawingml.diagramColors+xml"/>
  <Override PartName="/ppt/diagrams/drawing72.xml" ContentType="application/vnd.ms-office.drawingml.diagramDrawing+xml"/>
  <Override PartName="/ppt/diagrams/data73.xml" ContentType="application/vnd.openxmlformats-officedocument.drawingml.diagramData+xml"/>
  <Override PartName="/ppt/diagrams/layout73.xml" ContentType="application/vnd.openxmlformats-officedocument.drawingml.diagramLayout+xml"/>
  <Override PartName="/ppt/diagrams/quickStyle73.xml" ContentType="application/vnd.openxmlformats-officedocument.drawingml.diagramStyle+xml"/>
  <Override PartName="/ppt/diagrams/colors73.xml" ContentType="application/vnd.openxmlformats-officedocument.drawingml.diagramColors+xml"/>
  <Override PartName="/ppt/diagrams/drawing73.xml" ContentType="application/vnd.ms-office.drawingml.diagramDrawing+xml"/>
  <Override PartName="/ppt/diagrams/data74.xml" ContentType="application/vnd.openxmlformats-officedocument.drawingml.diagramData+xml"/>
  <Override PartName="/ppt/diagrams/layout74.xml" ContentType="application/vnd.openxmlformats-officedocument.drawingml.diagramLayout+xml"/>
  <Override PartName="/ppt/diagrams/quickStyle74.xml" ContentType="application/vnd.openxmlformats-officedocument.drawingml.diagramStyle+xml"/>
  <Override PartName="/ppt/diagrams/colors74.xml" ContentType="application/vnd.openxmlformats-officedocument.drawingml.diagramColors+xml"/>
  <Override PartName="/ppt/diagrams/drawing74.xml" ContentType="application/vnd.ms-office.drawingml.diagramDrawing+xml"/>
  <Override PartName="/ppt/diagrams/data75.xml" ContentType="application/vnd.openxmlformats-officedocument.drawingml.diagramData+xml"/>
  <Override PartName="/ppt/diagrams/layout75.xml" ContentType="application/vnd.openxmlformats-officedocument.drawingml.diagramLayout+xml"/>
  <Override PartName="/ppt/diagrams/quickStyle75.xml" ContentType="application/vnd.openxmlformats-officedocument.drawingml.diagramStyle+xml"/>
  <Override PartName="/ppt/diagrams/colors75.xml" ContentType="application/vnd.openxmlformats-officedocument.drawingml.diagramColors+xml"/>
  <Override PartName="/ppt/diagrams/drawing75.xml" ContentType="application/vnd.ms-office.drawingml.diagramDrawing+xml"/>
  <Override PartName="/ppt/diagrams/data76.xml" ContentType="application/vnd.openxmlformats-officedocument.drawingml.diagramData+xml"/>
  <Override PartName="/ppt/diagrams/layout76.xml" ContentType="application/vnd.openxmlformats-officedocument.drawingml.diagramLayout+xml"/>
  <Override PartName="/ppt/diagrams/quickStyle76.xml" ContentType="application/vnd.openxmlformats-officedocument.drawingml.diagramStyle+xml"/>
  <Override PartName="/ppt/diagrams/colors76.xml" ContentType="application/vnd.openxmlformats-officedocument.drawingml.diagramColors+xml"/>
  <Override PartName="/ppt/diagrams/drawing76.xml" ContentType="application/vnd.ms-office.drawingml.diagramDrawing+xml"/>
  <Override PartName="/ppt/diagrams/data77.xml" ContentType="application/vnd.openxmlformats-officedocument.drawingml.diagramData+xml"/>
  <Override PartName="/ppt/diagrams/layout77.xml" ContentType="application/vnd.openxmlformats-officedocument.drawingml.diagramLayout+xml"/>
  <Override PartName="/ppt/diagrams/quickStyle77.xml" ContentType="application/vnd.openxmlformats-officedocument.drawingml.diagramStyle+xml"/>
  <Override PartName="/ppt/diagrams/colors77.xml" ContentType="application/vnd.openxmlformats-officedocument.drawingml.diagramColors+xml"/>
  <Override PartName="/ppt/diagrams/drawing77.xml" ContentType="application/vnd.ms-office.drawingml.diagramDrawing+xml"/>
  <Override PartName="/ppt/diagrams/data78.xml" ContentType="application/vnd.openxmlformats-officedocument.drawingml.diagramData+xml"/>
  <Override PartName="/ppt/diagrams/layout78.xml" ContentType="application/vnd.openxmlformats-officedocument.drawingml.diagramLayout+xml"/>
  <Override PartName="/ppt/diagrams/quickStyle78.xml" ContentType="application/vnd.openxmlformats-officedocument.drawingml.diagramStyle+xml"/>
  <Override PartName="/ppt/diagrams/colors78.xml" ContentType="application/vnd.openxmlformats-officedocument.drawingml.diagramColors+xml"/>
  <Override PartName="/ppt/diagrams/drawing78.xml" ContentType="application/vnd.ms-office.drawingml.diagramDrawing+xml"/>
  <Override PartName="/ppt/diagrams/data79.xml" ContentType="application/vnd.openxmlformats-officedocument.drawingml.diagramData+xml"/>
  <Override PartName="/ppt/diagrams/layout79.xml" ContentType="application/vnd.openxmlformats-officedocument.drawingml.diagramLayout+xml"/>
  <Override PartName="/ppt/diagrams/quickStyle79.xml" ContentType="application/vnd.openxmlformats-officedocument.drawingml.diagramStyle+xml"/>
  <Override PartName="/ppt/diagrams/colors79.xml" ContentType="application/vnd.openxmlformats-officedocument.drawingml.diagramColors+xml"/>
  <Override PartName="/ppt/diagrams/drawing79.xml" ContentType="application/vnd.ms-office.drawingml.diagramDrawing+xml"/>
  <Override PartName="/ppt/diagrams/data80.xml" ContentType="application/vnd.openxmlformats-officedocument.drawingml.diagramData+xml"/>
  <Override PartName="/ppt/diagrams/layout80.xml" ContentType="application/vnd.openxmlformats-officedocument.drawingml.diagramLayout+xml"/>
  <Override PartName="/ppt/diagrams/quickStyle80.xml" ContentType="application/vnd.openxmlformats-officedocument.drawingml.diagramStyle+xml"/>
  <Override PartName="/ppt/diagrams/colors80.xml" ContentType="application/vnd.openxmlformats-officedocument.drawingml.diagramColors+xml"/>
  <Override PartName="/ppt/diagrams/drawing80.xml" ContentType="application/vnd.ms-office.drawingml.diagramDrawing+xml"/>
  <Override PartName="/ppt/diagrams/data81.xml" ContentType="application/vnd.openxmlformats-officedocument.drawingml.diagramData+xml"/>
  <Override PartName="/ppt/diagrams/layout81.xml" ContentType="application/vnd.openxmlformats-officedocument.drawingml.diagramLayout+xml"/>
  <Override PartName="/ppt/diagrams/quickStyle81.xml" ContentType="application/vnd.openxmlformats-officedocument.drawingml.diagramStyle+xml"/>
  <Override PartName="/ppt/diagrams/colors81.xml" ContentType="application/vnd.openxmlformats-officedocument.drawingml.diagramColors+xml"/>
  <Override PartName="/ppt/diagrams/drawing81.xml" ContentType="application/vnd.ms-office.drawingml.diagramDrawing+xml"/>
  <Override PartName="/ppt/diagrams/data82.xml" ContentType="application/vnd.openxmlformats-officedocument.drawingml.diagramData+xml"/>
  <Override PartName="/ppt/diagrams/layout82.xml" ContentType="application/vnd.openxmlformats-officedocument.drawingml.diagramLayout+xml"/>
  <Override PartName="/ppt/diagrams/quickStyle82.xml" ContentType="application/vnd.openxmlformats-officedocument.drawingml.diagramStyle+xml"/>
  <Override PartName="/ppt/diagrams/colors82.xml" ContentType="application/vnd.openxmlformats-officedocument.drawingml.diagramColors+xml"/>
  <Override PartName="/ppt/diagrams/drawing82.xml" ContentType="application/vnd.ms-office.drawingml.diagramDrawing+xml"/>
  <Override PartName="/ppt/diagrams/data83.xml" ContentType="application/vnd.openxmlformats-officedocument.drawingml.diagramData+xml"/>
  <Override PartName="/ppt/diagrams/layout83.xml" ContentType="application/vnd.openxmlformats-officedocument.drawingml.diagramLayout+xml"/>
  <Override PartName="/ppt/diagrams/quickStyle83.xml" ContentType="application/vnd.openxmlformats-officedocument.drawingml.diagramStyle+xml"/>
  <Override PartName="/ppt/diagrams/colors83.xml" ContentType="application/vnd.openxmlformats-officedocument.drawingml.diagramColors+xml"/>
  <Override PartName="/ppt/diagrams/drawing83.xml" ContentType="application/vnd.ms-office.drawingml.diagramDrawing+xml"/>
  <Override PartName="/ppt/diagrams/data84.xml" ContentType="application/vnd.openxmlformats-officedocument.drawingml.diagramData+xml"/>
  <Override PartName="/ppt/diagrams/layout84.xml" ContentType="application/vnd.openxmlformats-officedocument.drawingml.diagramLayout+xml"/>
  <Override PartName="/ppt/diagrams/quickStyle84.xml" ContentType="application/vnd.openxmlformats-officedocument.drawingml.diagramStyle+xml"/>
  <Override PartName="/ppt/diagrams/colors84.xml" ContentType="application/vnd.openxmlformats-officedocument.drawingml.diagramColors+xml"/>
  <Override PartName="/ppt/diagrams/drawing84.xml" ContentType="application/vnd.ms-office.drawingml.diagramDrawing+xml"/>
  <Override PartName="/ppt/diagrams/data85.xml" ContentType="application/vnd.openxmlformats-officedocument.drawingml.diagramData+xml"/>
  <Override PartName="/ppt/diagrams/layout85.xml" ContentType="application/vnd.openxmlformats-officedocument.drawingml.diagramLayout+xml"/>
  <Override PartName="/ppt/diagrams/quickStyle85.xml" ContentType="application/vnd.openxmlformats-officedocument.drawingml.diagramStyle+xml"/>
  <Override PartName="/ppt/diagrams/colors85.xml" ContentType="application/vnd.openxmlformats-officedocument.drawingml.diagramColors+xml"/>
  <Override PartName="/ppt/diagrams/drawing85.xml" ContentType="application/vnd.ms-office.drawingml.diagramDrawing+xml"/>
  <Override PartName="/ppt/diagrams/data86.xml" ContentType="application/vnd.openxmlformats-officedocument.drawingml.diagramData+xml"/>
  <Override PartName="/ppt/diagrams/layout86.xml" ContentType="application/vnd.openxmlformats-officedocument.drawingml.diagramLayout+xml"/>
  <Override PartName="/ppt/diagrams/quickStyle86.xml" ContentType="application/vnd.openxmlformats-officedocument.drawingml.diagramStyle+xml"/>
  <Override PartName="/ppt/diagrams/colors86.xml" ContentType="application/vnd.openxmlformats-officedocument.drawingml.diagramColors+xml"/>
  <Override PartName="/ppt/diagrams/drawing86.xml" ContentType="application/vnd.ms-office.drawingml.diagramDrawing+xml"/>
  <Override PartName="/ppt/diagrams/data87.xml" ContentType="application/vnd.openxmlformats-officedocument.drawingml.diagramData+xml"/>
  <Override PartName="/ppt/diagrams/layout87.xml" ContentType="application/vnd.openxmlformats-officedocument.drawingml.diagramLayout+xml"/>
  <Override PartName="/ppt/diagrams/quickStyle87.xml" ContentType="application/vnd.openxmlformats-officedocument.drawingml.diagramStyle+xml"/>
  <Override PartName="/ppt/diagrams/colors87.xml" ContentType="application/vnd.openxmlformats-officedocument.drawingml.diagramColors+xml"/>
  <Override PartName="/ppt/diagrams/drawing87.xml" ContentType="application/vnd.ms-office.drawingml.diagramDrawing+xml"/>
  <Override PartName="/ppt/diagrams/data88.xml" ContentType="application/vnd.openxmlformats-officedocument.drawingml.diagramData+xml"/>
  <Override PartName="/ppt/diagrams/layout88.xml" ContentType="application/vnd.openxmlformats-officedocument.drawingml.diagramLayout+xml"/>
  <Override PartName="/ppt/diagrams/quickStyle88.xml" ContentType="application/vnd.openxmlformats-officedocument.drawingml.diagramStyle+xml"/>
  <Override PartName="/ppt/diagrams/colors88.xml" ContentType="application/vnd.openxmlformats-officedocument.drawingml.diagramColors+xml"/>
  <Override PartName="/ppt/diagrams/drawing88.xml" ContentType="application/vnd.ms-office.drawingml.diagramDrawing+xml"/>
  <Override PartName="/ppt/notesSlides/notesSlide6.xml" ContentType="application/vnd.openxmlformats-officedocument.presentationml.notesSlide+xml"/>
  <Override PartName="/ppt/diagrams/data89.xml" ContentType="application/vnd.openxmlformats-officedocument.drawingml.diagramData+xml"/>
  <Override PartName="/ppt/diagrams/layout89.xml" ContentType="application/vnd.openxmlformats-officedocument.drawingml.diagramLayout+xml"/>
  <Override PartName="/ppt/diagrams/quickStyle89.xml" ContentType="application/vnd.openxmlformats-officedocument.drawingml.diagramStyle+xml"/>
  <Override PartName="/ppt/diagrams/colors89.xml" ContentType="application/vnd.openxmlformats-officedocument.drawingml.diagramColors+xml"/>
  <Override PartName="/ppt/diagrams/drawing89.xml" ContentType="application/vnd.ms-office.drawingml.diagramDrawing+xml"/>
  <Override PartName="/ppt/diagrams/data90.xml" ContentType="application/vnd.openxmlformats-officedocument.drawingml.diagramData+xml"/>
  <Override PartName="/ppt/diagrams/layout90.xml" ContentType="application/vnd.openxmlformats-officedocument.drawingml.diagramLayout+xml"/>
  <Override PartName="/ppt/diagrams/quickStyle90.xml" ContentType="application/vnd.openxmlformats-officedocument.drawingml.diagramStyle+xml"/>
  <Override PartName="/ppt/diagrams/colors90.xml" ContentType="application/vnd.openxmlformats-officedocument.drawingml.diagramColors+xml"/>
  <Override PartName="/ppt/diagrams/drawing90.xml" ContentType="application/vnd.ms-office.drawingml.diagramDrawing+xml"/>
  <Override PartName="/ppt/diagrams/data91.xml" ContentType="application/vnd.openxmlformats-officedocument.drawingml.diagramData+xml"/>
  <Override PartName="/ppt/diagrams/layout91.xml" ContentType="application/vnd.openxmlformats-officedocument.drawingml.diagramLayout+xml"/>
  <Override PartName="/ppt/diagrams/quickStyle91.xml" ContentType="application/vnd.openxmlformats-officedocument.drawingml.diagramStyle+xml"/>
  <Override PartName="/ppt/diagrams/colors91.xml" ContentType="application/vnd.openxmlformats-officedocument.drawingml.diagramColors+xml"/>
  <Override PartName="/ppt/diagrams/drawing91.xml" ContentType="application/vnd.ms-office.drawingml.diagramDrawing+xml"/>
  <Override PartName="/ppt/diagrams/data92.xml" ContentType="application/vnd.openxmlformats-officedocument.drawingml.diagramData+xml"/>
  <Override PartName="/ppt/diagrams/layout92.xml" ContentType="application/vnd.openxmlformats-officedocument.drawingml.diagramLayout+xml"/>
  <Override PartName="/ppt/diagrams/quickStyle92.xml" ContentType="application/vnd.openxmlformats-officedocument.drawingml.diagramStyle+xml"/>
  <Override PartName="/ppt/diagrams/colors92.xml" ContentType="application/vnd.openxmlformats-officedocument.drawingml.diagramColors+xml"/>
  <Override PartName="/ppt/diagrams/drawing92.xml" ContentType="application/vnd.ms-office.drawingml.diagramDrawing+xml"/>
  <Override PartName="/ppt/diagrams/data93.xml" ContentType="application/vnd.openxmlformats-officedocument.drawingml.diagramData+xml"/>
  <Override PartName="/ppt/diagrams/layout93.xml" ContentType="application/vnd.openxmlformats-officedocument.drawingml.diagramLayout+xml"/>
  <Override PartName="/ppt/diagrams/quickStyle93.xml" ContentType="application/vnd.openxmlformats-officedocument.drawingml.diagramStyle+xml"/>
  <Override PartName="/ppt/diagrams/colors93.xml" ContentType="application/vnd.openxmlformats-officedocument.drawingml.diagramColors+xml"/>
  <Override PartName="/ppt/diagrams/drawing93.xml" ContentType="application/vnd.ms-office.drawingml.diagramDrawing+xml"/>
  <Override PartName="/ppt/diagrams/data94.xml" ContentType="application/vnd.openxmlformats-officedocument.drawingml.diagramData+xml"/>
  <Override PartName="/ppt/diagrams/layout94.xml" ContentType="application/vnd.openxmlformats-officedocument.drawingml.diagramLayout+xml"/>
  <Override PartName="/ppt/diagrams/quickStyle94.xml" ContentType="application/vnd.openxmlformats-officedocument.drawingml.diagramStyle+xml"/>
  <Override PartName="/ppt/diagrams/colors94.xml" ContentType="application/vnd.openxmlformats-officedocument.drawingml.diagramColors+xml"/>
  <Override PartName="/ppt/diagrams/drawing94.xml" ContentType="application/vnd.ms-office.drawingml.diagramDrawing+xml"/>
  <Override PartName="/ppt/diagrams/data95.xml" ContentType="application/vnd.openxmlformats-officedocument.drawingml.diagramData+xml"/>
  <Override PartName="/ppt/diagrams/layout95.xml" ContentType="application/vnd.openxmlformats-officedocument.drawingml.diagramLayout+xml"/>
  <Override PartName="/ppt/diagrams/quickStyle95.xml" ContentType="application/vnd.openxmlformats-officedocument.drawingml.diagramStyle+xml"/>
  <Override PartName="/ppt/diagrams/colors95.xml" ContentType="application/vnd.openxmlformats-officedocument.drawingml.diagramColors+xml"/>
  <Override PartName="/ppt/diagrams/drawing95.xml" ContentType="application/vnd.ms-office.drawingml.diagramDrawing+xml"/>
  <Override PartName="/ppt/diagrams/data96.xml" ContentType="application/vnd.openxmlformats-officedocument.drawingml.diagramData+xml"/>
  <Override PartName="/ppt/diagrams/layout96.xml" ContentType="application/vnd.openxmlformats-officedocument.drawingml.diagramLayout+xml"/>
  <Override PartName="/ppt/diagrams/quickStyle96.xml" ContentType="application/vnd.openxmlformats-officedocument.drawingml.diagramStyle+xml"/>
  <Override PartName="/ppt/diagrams/colors96.xml" ContentType="application/vnd.openxmlformats-officedocument.drawingml.diagramColors+xml"/>
  <Override PartName="/ppt/diagrams/drawing96.xml" ContentType="application/vnd.ms-office.drawingml.diagramDrawing+xml"/>
  <Override PartName="/ppt/diagrams/data97.xml" ContentType="application/vnd.openxmlformats-officedocument.drawingml.diagramData+xml"/>
  <Override PartName="/ppt/diagrams/layout97.xml" ContentType="application/vnd.openxmlformats-officedocument.drawingml.diagramLayout+xml"/>
  <Override PartName="/ppt/diagrams/quickStyle97.xml" ContentType="application/vnd.openxmlformats-officedocument.drawingml.diagramStyle+xml"/>
  <Override PartName="/ppt/diagrams/colors97.xml" ContentType="application/vnd.openxmlformats-officedocument.drawingml.diagramColors+xml"/>
  <Override PartName="/ppt/diagrams/drawing97.xml" ContentType="application/vnd.ms-office.drawingml.diagramDrawing+xml"/>
  <Override PartName="/ppt/diagrams/data98.xml" ContentType="application/vnd.openxmlformats-officedocument.drawingml.diagramData+xml"/>
  <Override PartName="/ppt/diagrams/layout98.xml" ContentType="application/vnd.openxmlformats-officedocument.drawingml.diagramLayout+xml"/>
  <Override PartName="/ppt/diagrams/quickStyle98.xml" ContentType="application/vnd.openxmlformats-officedocument.drawingml.diagramStyle+xml"/>
  <Override PartName="/ppt/diagrams/colors98.xml" ContentType="application/vnd.openxmlformats-officedocument.drawingml.diagramColors+xml"/>
  <Override PartName="/ppt/diagrams/drawing98.xml" ContentType="application/vnd.ms-office.drawingml.diagramDrawing+xml"/>
  <Override PartName="/ppt/diagrams/data99.xml" ContentType="application/vnd.openxmlformats-officedocument.drawingml.diagramData+xml"/>
  <Override PartName="/ppt/diagrams/layout99.xml" ContentType="application/vnd.openxmlformats-officedocument.drawingml.diagramLayout+xml"/>
  <Override PartName="/ppt/diagrams/quickStyle99.xml" ContentType="application/vnd.openxmlformats-officedocument.drawingml.diagramStyle+xml"/>
  <Override PartName="/ppt/diagrams/colors99.xml" ContentType="application/vnd.openxmlformats-officedocument.drawingml.diagramColors+xml"/>
  <Override PartName="/ppt/diagrams/drawing99.xml" ContentType="application/vnd.ms-office.drawingml.diagramDrawing+xml"/>
  <Override PartName="/ppt/diagrams/data100.xml" ContentType="application/vnd.openxmlformats-officedocument.drawingml.diagramData+xml"/>
  <Override PartName="/ppt/diagrams/layout100.xml" ContentType="application/vnd.openxmlformats-officedocument.drawingml.diagramLayout+xml"/>
  <Override PartName="/ppt/diagrams/quickStyle100.xml" ContentType="application/vnd.openxmlformats-officedocument.drawingml.diagramStyle+xml"/>
  <Override PartName="/ppt/diagrams/colors100.xml" ContentType="application/vnd.openxmlformats-officedocument.drawingml.diagramColors+xml"/>
  <Override PartName="/ppt/diagrams/drawing100.xml" ContentType="application/vnd.ms-office.drawingml.diagramDrawing+xml"/>
  <Override PartName="/ppt/diagrams/data101.xml" ContentType="application/vnd.openxmlformats-officedocument.drawingml.diagramData+xml"/>
  <Override PartName="/ppt/diagrams/layout101.xml" ContentType="application/vnd.openxmlformats-officedocument.drawingml.diagramLayout+xml"/>
  <Override PartName="/ppt/diagrams/quickStyle101.xml" ContentType="application/vnd.openxmlformats-officedocument.drawingml.diagramStyle+xml"/>
  <Override PartName="/ppt/diagrams/colors101.xml" ContentType="application/vnd.openxmlformats-officedocument.drawingml.diagramColors+xml"/>
  <Override PartName="/ppt/diagrams/drawing101.xml" ContentType="application/vnd.ms-office.drawingml.diagramDrawing+xml"/>
  <Override PartName="/ppt/diagrams/data102.xml" ContentType="application/vnd.openxmlformats-officedocument.drawingml.diagramData+xml"/>
  <Override PartName="/ppt/diagrams/layout102.xml" ContentType="application/vnd.openxmlformats-officedocument.drawingml.diagramLayout+xml"/>
  <Override PartName="/ppt/diagrams/quickStyle102.xml" ContentType="application/vnd.openxmlformats-officedocument.drawingml.diagramStyle+xml"/>
  <Override PartName="/ppt/diagrams/colors102.xml" ContentType="application/vnd.openxmlformats-officedocument.drawingml.diagramColors+xml"/>
  <Override PartName="/ppt/diagrams/drawing102.xml" ContentType="application/vnd.ms-office.drawingml.diagramDrawing+xml"/>
  <Override PartName="/ppt/notesSlides/notesSlide7.xml" ContentType="application/vnd.openxmlformats-officedocument.presentationml.notesSlide+xml"/>
  <Override PartName="/ppt/diagrams/data103.xml" ContentType="application/vnd.openxmlformats-officedocument.drawingml.diagramData+xml"/>
  <Override PartName="/ppt/diagrams/layout103.xml" ContentType="application/vnd.openxmlformats-officedocument.drawingml.diagramLayout+xml"/>
  <Override PartName="/ppt/diagrams/quickStyle103.xml" ContentType="application/vnd.openxmlformats-officedocument.drawingml.diagramStyle+xml"/>
  <Override PartName="/ppt/diagrams/colors103.xml" ContentType="application/vnd.openxmlformats-officedocument.drawingml.diagramColors+xml"/>
  <Override PartName="/ppt/diagrams/drawing103.xml" ContentType="application/vnd.ms-office.drawingml.diagramDrawing+xml"/>
  <Override PartName="/ppt/notesSlides/notesSlide8.xml" ContentType="application/vnd.openxmlformats-officedocument.presentationml.notesSlide+xml"/>
  <Override PartName="/ppt/diagrams/data104.xml" ContentType="application/vnd.openxmlformats-officedocument.drawingml.diagramData+xml"/>
  <Override PartName="/ppt/diagrams/layout104.xml" ContentType="application/vnd.openxmlformats-officedocument.drawingml.diagramLayout+xml"/>
  <Override PartName="/ppt/diagrams/quickStyle104.xml" ContentType="application/vnd.openxmlformats-officedocument.drawingml.diagramStyle+xml"/>
  <Override PartName="/ppt/diagrams/colors104.xml" ContentType="application/vnd.openxmlformats-officedocument.drawingml.diagramColors+xml"/>
  <Override PartName="/ppt/diagrams/drawing10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40"/>
  </p:notesMasterIdLst>
  <p:sldIdLst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97" r:id="rId13"/>
    <p:sldId id="298" r:id="rId14"/>
    <p:sldId id="299" r:id="rId15"/>
    <p:sldId id="300" r:id="rId16"/>
    <p:sldId id="301" r:id="rId17"/>
    <p:sldId id="302" r:id="rId18"/>
    <p:sldId id="303" r:id="rId19"/>
    <p:sldId id="304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83" r:id="rId31"/>
    <p:sldId id="284" r:id="rId32"/>
    <p:sldId id="285" r:id="rId33"/>
    <p:sldId id="286" r:id="rId34"/>
    <p:sldId id="292" r:id="rId35"/>
    <p:sldId id="293" r:id="rId36"/>
    <p:sldId id="294" r:id="rId37"/>
    <p:sldId id="295" r:id="rId38"/>
    <p:sldId id="296" r:id="rId39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41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iagrams/_rels/data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microsoft.com/office/2007/relationships/hdphoto" Target="../media/hdphoto1.wdp"/><Relationship Id="rId1" Type="http://schemas.openxmlformats.org/officeDocument/2006/relationships/image" Target="../media/image12.jpeg"/></Relationships>
</file>

<file path=ppt/diagrams/_rels/data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diagrams/_rels/drawing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microsoft.com/office/2007/relationships/hdphoto" Target="../media/hdphoto1.wdp"/><Relationship Id="rId1" Type="http://schemas.openxmlformats.org/officeDocument/2006/relationships/image" Target="../media/image12.jpeg"/></Relationships>
</file>

<file path=ppt/diagrams/_rels/drawing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image" Target="../media/image1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0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1#6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1#7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4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9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3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9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0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8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0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2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5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3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4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6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7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8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0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2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4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5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7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8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9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Chi siamo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47784318-FBF4-47D0-A442-4F02AB70FBF9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594534BB-F749-473E-A02F-085595AA38A9}" type="presOf" srcId="{2BF37BE0-F1C9-4327-8D6B-194C8F2CF94F}" destId="{7D920113-6D83-4974-923F-4CAA40CA2FDB}" srcOrd="0" destOrd="0" presId="urn:microsoft.com/office/officeart/2008/layout/LinedList"/>
    <dgm:cxn modelId="{A67D85CB-5FE5-448C-B757-F247230F880B}" type="presParOf" srcId="{58FB0A67-F67A-40BA-890E-A840ED83B605}" destId="{AB26EC88-0333-42E8-B340-C2B4FE18384A}" srcOrd="0" destOrd="0" presId="urn:microsoft.com/office/officeart/2008/layout/LinedList"/>
    <dgm:cxn modelId="{27460047-95F1-406C-8D02-D0D49FE558CE}" type="presParOf" srcId="{58FB0A67-F67A-40BA-890E-A840ED83B605}" destId="{45792684-4DE0-4EDD-B49A-A40AB3BD4B9E}" srcOrd="1" destOrd="0" presId="urn:microsoft.com/office/officeart/2008/layout/LinedList"/>
    <dgm:cxn modelId="{20C98655-4B9E-44EC-B463-B2E91EC25702}" type="presParOf" srcId="{45792684-4DE0-4EDD-B49A-A40AB3BD4B9E}" destId="{7D920113-6D83-4974-923F-4CAA40CA2FDB}" srcOrd="0" destOrd="0" presId="urn:microsoft.com/office/officeart/2008/layout/LinedList"/>
    <dgm:cxn modelId="{E75D7C7B-C6A8-4919-BB98-B0D294314988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368F97F-F6E3-475E-B404-74D21EF24621}" type="doc">
      <dgm:prSet loTypeId="urn:microsoft.com/office/officeart/2005/8/layout/default#1" loCatId="list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BA397AC-D747-4707-9354-5F5691AA6C69}">
      <dgm:prSet phldrT="[Testo]" custT="1"/>
      <dgm:spPr/>
      <dgm:t>
        <a:bodyPr/>
        <a:lstStyle/>
        <a:p>
          <a:r>
            <a:rPr lang="it-IT" sz="1800" dirty="0" smtClean="0"/>
            <a:t>Definizione piano di lavoro (in presenza)</a:t>
          </a:r>
        </a:p>
        <a:p>
          <a:r>
            <a:rPr lang="it-IT" sz="1800" dirty="0" smtClean="0"/>
            <a:t>8-9 maggio 2014</a:t>
          </a:r>
          <a:endParaRPr lang="it-IT" sz="1800" dirty="0"/>
        </a:p>
      </dgm:t>
    </dgm:pt>
    <dgm:pt modelId="{2DB22199-E337-49F0-A93D-FCDB1AB3A785}" type="parTrans" cxnId="{18538E5F-5097-436F-A926-EA0FD38241F9}">
      <dgm:prSet/>
      <dgm:spPr/>
      <dgm:t>
        <a:bodyPr/>
        <a:lstStyle/>
        <a:p>
          <a:endParaRPr lang="it-IT"/>
        </a:p>
      </dgm:t>
    </dgm:pt>
    <dgm:pt modelId="{35B1F1FF-6350-46D7-9389-596E1DBC77A8}" type="sibTrans" cxnId="{18538E5F-5097-436F-A926-EA0FD38241F9}">
      <dgm:prSet/>
      <dgm:spPr/>
      <dgm:t>
        <a:bodyPr/>
        <a:lstStyle/>
        <a:p>
          <a:endParaRPr lang="it-IT"/>
        </a:p>
      </dgm:t>
    </dgm:pt>
    <dgm:pt modelId="{5160F0DF-DB10-43F8-8981-C303FB3C8C07}" type="pres">
      <dgm:prSet presAssocID="{1368F97F-F6E3-475E-B404-74D21EF2462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192835D1-122D-4027-AADC-8E33108B9F24}" type="pres">
      <dgm:prSet presAssocID="{8BA397AC-D747-4707-9354-5F5691AA6C69}" presName="node" presStyleLbl="node1" presStyleIdx="0" presStyleCnt="1" custScaleX="180816" custScaleY="118846" custLinFactY="200000" custLinFactNeighborX="16910" custLinFactNeighborY="2222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2FECE6C-CA3A-4D65-B659-91EC6AA244D2}" type="presOf" srcId="{1368F97F-F6E3-475E-B404-74D21EF24621}" destId="{5160F0DF-DB10-43F8-8981-C303FB3C8C07}" srcOrd="0" destOrd="0" presId="urn:microsoft.com/office/officeart/2005/8/layout/default#1"/>
    <dgm:cxn modelId="{23FAEC62-2816-4A14-A050-35C4A3A3DEB4}" type="presOf" srcId="{8BA397AC-D747-4707-9354-5F5691AA6C69}" destId="{192835D1-122D-4027-AADC-8E33108B9F24}" srcOrd="0" destOrd="0" presId="urn:microsoft.com/office/officeart/2005/8/layout/default#1"/>
    <dgm:cxn modelId="{18538E5F-5097-436F-A926-EA0FD38241F9}" srcId="{1368F97F-F6E3-475E-B404-74D21EF24621}" destId="{8BA397AC-D747-4707-9354-5F5691AA6C69}" srcOrd="0" destOrd="0" parTransId="{2DB22199-E337-49F0-A93D-FCDB1AB3A785}" sibTransId="{35B1F1FF-6350-46D7-9389-596E1DBC77A8}"/>
    <dgm:cxn modelId="{83E1B2AB-9DB3-4FB1-A037-9D153E2F2A04}" type="presParOf" srcId="{5160F0DF-DB10-43F8-8981-C303FB3C8C07}" destId="{192835D1-122D-4027-AADC-8E33108B9F24}" srcOrd="0" destOrd="0" presId="urn:microsoft.com/office/officeart/2005/8/layout/default#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00.xml><?xml version="1.0" encoding="utf-8"?>
<dgm:dataModel xmlns:dgm="http://schemas.openxmlformats.org/drawingml/2006/diagram" xmlns:a="http://schemas.openxmlformats.org/drawingml/2006/main">
  <dgm:ptLst>
    <dgm:pt modelId="{F7E528C2-2A82-4B82-B450-9A3C8AE5F80C}" type="doc">
      <dgm:prSet loTypeId="urn:microsoft.com/office/officeart/2008/layout/VerticalAccentList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A3F1DFDD-091D-4A02-B952-D25D8EEA3D80}">
      <dgm:prSet custT="1"/>
      <dgm:spPr/>
      <dgm:t>
        <a:bodyPr/>
        <a:lstStyle/>
        <a:p>
          <a:pPr algn="just" rtl="0"/>
          <a:r>
            <a:rPr lang="it-IT" sz="1800" dirty="0" smtClean="0"/>
            <a:t>In questi quattro ambiti, la più limitata base produttiva con un orientamento tecnologico forte e le più ristrette evidenze di </a:t>
          </a:r>
          <a:r>
            <a:rPr lang="it-IT" sz="1800" i="1" dirty="0" smtClean="0"/>
            <a:t>performance</a:t>
          </a:r>
          <a:r>
            <a:rPr lang="it-IT" sz="1800" dirty="0" smtClean="0"/>
            <a:t> fornite dai centri di competenza attivi, spingono a ritenere che la Sicilia potrà ragionevolmente giocare in un orizzonte temporale lungo un ruolo di </a:t>
          </a:r>
          <a:r>
            <a:rPr lang="it-IT" sz="1800" i="1" dirty="0" err="1" smtClean="0"/>
            <a:t>follower</a:t>
          </a:r>
          <a:r>
            <a:rPr lang="it-IT" sz="1800" dirty="0" smtClean="0"/>
            <a:t> ma non di leader. </a:t>
          </a:r>
          <a:endParaRPr lang="it-IT" sz="1800" b="1" dirty="0">
            <a:solidFill>
              <a:schemeClr val="bg2">
                <a:lumMod val="25000"/>
              </a:schemeClr>
            </a:solidFill>
          </a:endParaRPr>
        </a:p>
      </dgm:t>
    </dgm:pt>
    <dgm:pt modelId="{E13C4420-7129-42D5-B68B-F748D7E03583}" type="parTrans" cxnId="{0EEA6C05-35F0-4D12-B029-845B65DCF730}">
      <dgm:prSet/>
      <dgm:spPr/>
      <dgm:t>
        <a:bodyPr/>
        <a:lstStyle/>
        <a:p>
          <a:endParaRPr lang="it-IT"/>
        </a:p>
      </dgm:t>
    </dgm:pt>
    <dgm:pt modelId="{4DB7724F-C82C-4540-B47B-13E59DF030D0}" type="sibTrans" cxnId="{0EEA6C05-35F0-4D12-B029-845B65DCF730}">
      <dgm:prSet/>
      <dgm:spPr/>
      <dgm:t>
        <a:bodyPr/>
        <a:lstStyle/>
        <a:p>
          <a:endParaRPr lang="it-IT"/>
        </a:p>
      </dgm:t>
    </dgm:pt>
    <dgm:pt modelId="{956EDBB2-AE11-4B66-8064-060041509E19}" type="pres">
      <dgm:prSet presAssocID="{F7E528C2-2A82-4B82-B450-9A3C8AE5F80C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it-IT"/>
        </a:p>
      </dgm:t>
    </dgm:pt>
    <dgm:pt modelId="{C8AE571F-EA78-4B1F-860D-C064C5381CCB}" type="pres">
      <dgm:prSet presAssocID="{A3F1DFDD-091D-4A02-B952-D25D8EEA3D80}" presName="parenttextcomposite" presStyleCnt="0"/>
      <dgm:spPr/>
    </dgm:pt>
    <dgm:pt modelId="{BF1EB9E4-34F5-45B6-A4D0-AAEC6E0F51AF}" type="pres">
      <dgm:prSet presAssocID="{A3F1DFDD-091D-4A02-B952-D25D8EEA3D80}" presName="parenttext" presStyleLbl="revTx" presStyleIdx="0" presStyleCnt="1" custScaleX="121611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78DD96-C3A5-4F8A-B393-612A0B6764F6}" type="pres">
      <dgm:prSet presAssocID="{A3F1DFDD-091D-4A02-B952-D25D8EEA3D80}" presName="parallelogramComposite" presStyleCnt="0"/>
      <dgm:spPr/>
    </dgm:pt>
    <dgm:pt modelId="{B50886CF-3969-4785-A7A6-C5609CC6D808}" type="pres">
      <dgm:prSet presAssocID="{A3F1DFDD-091D-4A02-B952-D25D8EEA3D80}" presName="parallelogram1" presStyleLbl="alignNode1" presStyleIdx="0" presStyleCnt="7"/>
      <dgm:spPr/>
    </dgm:pt>
    <dgm:pt modelId="{BEB10AC0-88E5-41BC-A849-543314CF3CF1}" type="pres">
      <dgm:prSet presAssocID="{A3F1DFDD-091D-4A02-B952-D25D8EEA3D80}" presName="parallelogram2" presStyleLbl="alignNode1" presStyleIdx="1" presStyleCnt="7"/>
      <dgm:spPr/>
    </dgm:pt>
    <dgm:pt modelId="{81C1C24A-06C7-4381-9163-0178FB1F1B50}" type="pres">
      <dgm:prSet presAssocID="{A3F1DFDD-091D-4A02-B952-D25D8EEA3D80}" presName="parallelogram3" presStyleLbl="alignNode1" presStyleIdx="2" presStyleCnt="7"/>
      <dgm:spPr/>
    </dgm:pt>
    <dgm:pt modelId="{29F6FA8C-113B-4D7B-A493-99A38ADCE753}" type="pres">
      <dgm:prSet presAssocID="{A3F1DFDD-091D-4A02-B952-D25D8EEA3D80}" presName="parallelogram4" presStyleLbl="alignNode1" presStyleIdx="3" presStyleCnt="7"/>
      <dgm:spPr/>
    </dgm:pt>
    <dgm:pt modelId="{4E636013-F4FF-446C-AC51-028DC8B2E03F}" type="pres">
      <dgm:prSet presAssocID="{A3F1DFDD-091D-4A02-B952-D25D8EEA3D80}" presName="parallelogram5" presStyleLbl="alignNode1" presStyleIdx="4" presStyleCnt="7"/>
      <dgm:spPr/>
    </dgm:pt>
    <dgm:pt modelId="{A449C57F-D2A8-486B-91E1-D6A55A724EED}" type="pres">
      <dgm:prSet presAssocID="{A3F1DFDD-091D-4A02-B952-D25D8EEA3D80}" presName="parallelogram6" presStyleLbl="alignNode1" presStyleIdx="5" presStyleCnt="7"/>
      <dgm:spPr/>
    </dgm:pt>
    <dgm:pt modelId="{E7218534-1A5D-43C3-A464-E2697B1B81C6}" type="pres">
      <dgm:prSet presAssocID="{A3F1DFDD-091D-4A02-B952-D25D8EEA3D80}" presName="parallelogram7" presStyleLbl="alignNode1" presStyleIdx="6" presStyleCnt="7"/>
      <dgm:spPr/>
    </dgm:pt>
  </dgm:ptLst>
  <dgm:cxnLst>
    <dgm:cxn modelId="{1CB607F6-7AB4-49E5-9D0D-0E8CEEBFAFC7}" type="presOf" srcId="{A3F1DFDD-091D-4A02-B952-D25D8EEA3D80}" destId="{BF1EB9E4-34F5-45B6-A4D0-AAEC6E0F51AF}" srcOrd="0" destOrd="0" presId="urn:microsoft.com/office/officeart/2008/layout/VerticalAccentList"/>
    <dgm:cxn modelId="{8B1BDDC0-E296-4ECB-998C-1D9991E1FE84}" type="presOf" srcId="{F7E528C2-2A82-4B82-B450-9A3C8AE5F80C}" destId="{956EDBB2-AE11-4B66-8064-060041509E19}" srcOrd="0" destOrd="0" presId="urn:microsoft.com/office/officeart/2008/layout/VerticalAccentList"/>
    <dgm:cxn modelId="{0EEA6C05-35F0-4D12-B029-845B65DCF730}" srcId="{F7E528C2-2A82-4B82-B450-9A3C8AE5F80C}" destId="{A3F1DFDD-091D-4A02-B952-D25D8EEA3D80}" srcOrd="0" destOrd="0" parTransId="{E13C4420-7129-42D5-B68B-F748D7E03583}" sibTransId="{4DB7724F-C82C-4540-B47B-13E59DF030D0}"/>
    <dgm:cxn modelId="{667DD62B-6B17-4269-AA48-711F612C4896}" type="presParOf" srcId="{956EDBB2-AE11-4B66-8064-060041509E19}" destId="{C8AE571F-EA78-4B1F-860D-C064C5381CCB}" srcOrd="0" destOrd="0" presId="urn:microsoft.com/office/officeart/2008/layout/VerticalAccentList"/>
    <dgm:cxn modelId="{D42A4592-57F2-4317-8E8E-749940BFC003}" type="presParOf" srcId="{C8AE571F-EA78-4B1F-860D-C064C5381CCB}" destId="{BF1EB9E4-34F5-45B6-A4D0-AAEC6E0F51AF}" srcOrd="0" destOrd="0" presId="urn:microsoft.com/office/officeart/2008/layout/VerticalAccentList"/>
    <dgm:cxn modelId="{A0A55608-58AC-441A-B25D-C649BC9E4E4E}" type="presParOf" srcId="{956EDBB2-AE11-4B66-8064-060041509E19}" destId="{4C78DD96-C3A5-4F8A-B393-612A0B6764F6}" srcOrd="1" destOrd="0" presId="urn:microsoft.com/office/officeart/2008/layout/VerticalAccentList"/>
    <dgm:cxn modelId="{088E2C35-D42F-4D10-BE66-84F240767718}" type="presParOf" srcId="{4C78DD96-C3A5-4F8A-B393-612A0B6764F6}" destId="{B50886CF-3969-4785-A7A6-C5609CC6D808}" srcOrd="0" destOrd="0" presId="urn:microsoft.com/office/officeart/2008/layout/VerticalAccentList"/>
    <dgm:cxn modelId="{FEEBC275-9879-4AE1-BDAE-32D69571FE8B}" type="presParOf" srcId="{4C78DD96-C3A5-4F8A-B393-612A0B6764F6}" destId="{BEB10AC0-88E5-41BC-A849-543314CF3CF1}" srcOrd="1" destOrd="0" presId="urn:microsoft.com/office/officeart/2008/layout/VerticalAccentList"/>
    <dgm:cxn modelId="{2CCB50E3-21AE-4719-A098-716B479A91BD}" type="presParOf" srcId="{4C78DD96-C3A5-4F8A-B393-612A0B6764F6}" destId="{81C1C24A-06C7-4381-9163-0178FB1F1B50}" srcOrd="2" destOrd="0" presId="urn:microsoft.com/office/officeart/2008/layout/VerticalAccentList"/>
    <dgm:cxn modelId="{7D525598-E9FD-4FC3-80EE-882C8C58C53E}" type="presParOf" srcId="{4C78DD96-C3A5-4F8A-B393-612A0B6764F6}" destId="{29F6FA8C-113B-4D7B-A493-99A38ADCE753}" srcOrd="3" destOrd="0" presId="urn:microsoft.com/office/officeart/2008/layout/VerticalAccentList"/>
    <dgm:cxn modelId="{03192BDF-7BB2-48D4-AA97-3856C9FEC0E0}" type="presParOf" srcId="{4C78DD96-C3A5-4F8A-B393-612A0B6764F6}" destId="{4E636013-F4FF-446C-AC51-028DC8B2E03F}" srcOrd="4" destOrd="0" presId="urn:microsoft.com/office/officeart/2008/layout/VerticalAccentList"/>
    <dgm:cxn modelId="{E9C64256-E2C7-4401-A3AB-6667D5D1771C}" type="presParOf" srcId="{4C78DD96-C3A5-4F8A-B393-612A0B6764F6}" destId="{A449C57F-D2A8-486B-91E1-D6A55A724EED}" srcOrd="5" destOrd="0" presId="urn:microsoft.com/office/officeart/2008/layout/VerticalAccentList"/>
    <dgm:cxn modelId="{0BB9DE19-EE55-4B09-BA88-19DA5332E33A}" type="presParOf" srcId="{4C78DD96-C3A5-4F8A-B393-612A0B6764F6}" destId="{E7218534-1A5D-43C3-A464-E2697B1B81C6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01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3. Indicazioni di Priorità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 custScaleY="7845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 custScaleY="90321">
        <dgm:presLayoutVars>
          <dgm:bulletEnabled val="1"/>
        </dgm:presLayoutVars>
      </dgm:prSet>
      <dgm:spPr/>
    </dgm:pt>
  </dgm:ptLst>
  <dgm:cxnLst>
    <dgm:cxn modelId="{3D5BD785-F9E2-4D4F-ADC4-E187BEBF7793}" type="presOf" srcId="{E4C7AF03-E2BD-4E48-8DAB-C1261D3D7EA9}" destId="{21D380AD-5D38-4835-9FB5-615E5454C686}" srcOrd="1" destOrd="0" presId="urn:microsoft.com/office/officeart/2005/8/layout/list1"/>
    <dgm:cxn modelId="{223A90ED-22CE-4276-84B8-E1A8EF930905}" type="presOf" srcId="{188FD03C-7D6A-4D29-8FCB-9C1383057E36}" destId="{C08F212E-D010-4B1B-884C-243E8BB88BD2}" srcOrd="0" destOrd="0" presId="urn:microsoft.com/office/officeart/2005/8/layout/list1"/>
    <dgm:cxn modelId="{03C8D76B-21B7-43F6-B647-C4E9CB2C9D6A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1E8CF227-924C-4A9F-93CC-443AB32CF482}" type="presParOf" srcId="{C08F212E-D010-4B1B-884C-243E8BB88BD2}" destId="{A042C0D5-6636-40E8-83EA-703099528EDB}" srcOrd="0" destOrd="0" presId="urn:microsoft.com/office/officeart/2005/8/layout/list1"/>
    <dgm:cxn modelId="{B6B65D8E-9776-4B73-B24C-DC3F61B17457}" type="presParOf" srcId="{A042C0D5-6636-40E8-83EA-703099528EDB}" destId="{03DB856F-DE91-4CA0-AD05-B356DE21BFDC}" srcOrd="0" destOrd="0" presId="urn:microsoft.com/office/officeart/2005/8/layout/list1"/>
    <dgm:cxn modelId="{7EBA5EEB-C9A0-4947-989A-B968D1DDE6F0}" type="presParOf" srcId="{A042C0D5-6636-40E8-83EA-703099528EDB}" destId="{21D380AD-5D38-4835-9FB5-615E5454C686}" srcOrd="1" destOrd="0" presId="urn:microsoft.com/office/officeart/2005/8/layout/list1"/>
    <dgm:cxn modelId="{6248085D-8F54-4419-9C53-3A52FD9E26EF}" type="presParOf" srcId="{C08F212E-D010-4B1B-884C-243E8BB88BD2}" destId="{E77B3B8A-36B6-4AF7-9D59-DF889FA8E07C}" srcOrd="1" destOrd="0" presId="urn:microsoft.com/office/officeart/2005/8/layout/list1"/>
    <dgm:cxn modelId="{B108D357-4C86-4057-A7AA-4443A8587FA2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102.xml><?xml version="1.0" encoding="utf-8"?>
<dgm:dataModel xmlns:dgm="http://schemas.openxmlformats.org/drawingml/2006/diagram" xmlns:a="http://schemas.openxmlformats.org/drawingml/2006/main">
  <dgm:ptLst>
    <dgm:pt modelId="{42B14B51-E860-474D-874D-5271439269E9}" type="doc">
      <dgm:prSet loTypeId="urn:microsoft.com/office/officeart/2005/8/layout/vList2" loCatId="list" qsTypeId="urn:microsoft.com/office/officeart/2005/8/quickstyle/simple2" qsCatId="simple" csTypeId="urn:microsoft.com/office/officeart/2005/8/colors/accent6_1" csCatId="accent6" phldr="1"/>
      <dgm:spPr/>
      <dgm:t>
        <a:bodyPr/>
        <a:lstStyle/>
        <a:p>
          <a:endParaRPr lang="it-IT"/>
        </a:p>
      </dgm:t>
    </dgm:pt>
    <dgm:pt modelId="{EF4D8D88-616A-43BF-B2B9-04CCCBFCAEC5}">
      <dgm:prSet/>
      <dgm:spPr/>
      <dgm:t>
        <a:bodyPr/>
        <a:lstStyle/>
        <a:p>
          <a:pPr algn="just" rtl="0"/>
          <a:r>
            <a:rPr lang="it-IT" b="1" dirty="0" smtClean="0"/>
            <a:t>opportunità di promuovere </a:t>
          </a:r>
          <a:r>
            <a:rPr lang="it-IT" dirty="0" smtClean="0"/>
            <a:t>in tali ambiti una competizione virtuosa tra le aggregazioni esistenti ai fini dell’allocazione delle risorse finanziarie necessarie a supportare i percorsi attivati</a:t>
          </a:r>
          <a:endParaRPr lang="it-IT" dirty="0"/>
        </a:p>
      </dgm:t>
    </dgm:pt>
    <dgm:pt modelId="{30CF59C4-8AD4-4B0D-A823-759270553155}" type="parTrans" cxnId="{2253830A-D5E2-419D-ABE2-B2BC335E1C65}">
      <dgm:prSet/>
      <dgm:spPr/>
      <dgm:t>
        <a:bodyPr/>
        <a:lstStyle/>
        <a:p>
          <a:endParaRPr lang="it-IT"/>
        </a:p>
      </dgm:t>
    </dgm:pt>
    <dgm:pt modelId="{A31138F4-62E9-4E62-98A7-E4328DCBFE0E}" type="sibTrans" cxnId="{2253830A-D5E2-419D-ABE2-B2BC335E1C65}">
      <dgm:prSet/>
      <dgm:spPr/>
      <dgm:t>
        <a:bodyPr/>
        <a:lstStyle/>
        <a:p>
          <a:endParaRPr lang="it-IT"/>
        </a:p>
      </dgm:t>
    </dgm:pt>
    <dgm:pt modelId="{8062BF9F-98C8-4108-A0BC-3F361710E770}">
      <dgm:prSet/>
      <dgm:spPr/>
      <dgm:t>
        <a:bodyPr/>
        <a:lstStyle/>
        <a:p>
          <a:pPr algn="just" rtl="0"/>
          <a:r>
            <a:rPr lang="it-IT" b="1" dirty="0" smtClean="0"/>
            <a:t>consolidamento dei distretti tecnologici attivi </a:t>
          </a:r>
          <a:r>
            <a:rPr lang="it-IT" dirty="0" smtClean="0"/>
            <a:t>legato alla capacità che i partner delle aggregazioni dimostreranno di tessere fitte relazioni di cooperazione scientifica e industriale con i soggetti che operano nelle aree tecnologiche individuate come prioritarie, in un rapporto di crescente complementarità che dovrà alimentare i rispettivi processi di crescita</a:t>
          </a:r>
          <a:endParaRPr lang="it-IT" dirty="0"/>
        </a:p>
      </dgm:t>
    </dgm:pt>
    <dgm:pt modelId="{155C5359-16C8-48A5-BC00-6AB761F6607C}" type="parTrans" cxnId="{96DE0294-D171-42F8-B397-40C69199DEF3}">
      <dgm:prSet/>
      <dgm:spPr/>
      <dgm:t>
        <a:bodyPr/>
        <a:lstStyle/>
        <a:p>
          <a:endParaRPr lang="it-IT"/>
        </a:p>
      </dgm:t>
    </dgm:pt>
    <dgm:pt modelId="{B36DCC2E-4444-4CCC-9F22-34C8106B6B85}" type="sibTrans" cxnId="{96DE0294-D171-42F8-B397-40C69199DEF3}">
      <dgm:prSet/>
      <dgm:spPr/>
      <dgm:t>
        <a:bodyPr/>
        <a:lstStyle/>
        <a:p>
          <a:endParaRPr lang="it-IT"/>
        </a:p>
      </dgm:t>
    </dgm:pt>
    <dgm:pt modelId="{89EFC2C5-DF4E-4B77-AE1F-6085B894D841}" type="pres">
      <dgm:prSet presAssocID="{42B14B51-E860-474D-874D-5271439269E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6771866-0E7E-40E8-9B03-00BA53681255}" type="pres">
      <dgm:prSet presAssocID="{EF4D8D88-616A-43BF-B2B9-04CCCBFCAEC5}" presName="parentText" presStyleLbl="node1" presStyleIdx="0" presStyleCnt="2" custScaleY="66775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FDE2DF9-FCCE-4C31-B79D-75486D18C751}" type="pres">
      <dgm:prSet presAssocID="{A31138F4-62E9-4E62-98A7-E4328DCBFE0E}" presName="spacer" presStyleCnt="0"/>
      <dgm:spPr/>
    </dgm:pt>
    <dgm:pt modelId="{82D75A39-FE5C-4C8C-9EA5-CF93427C462A}" type="pres">
      <dgm:prSet presAssocID="{8062BF9F-98C8-4108-A0BC-3F361710E770}" presName="parentText" presStyleLbl="node1" presStyleIdx="1" presStyleCnt="2" custLinFactY="13844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6DE0294-D171-42F8-B397-40C69199DEF3}" srcId="{42B14B51-E860-474D-874D-5271439269E9}" destId="{8062BF9F-98C8-4108-A0BC-3F361710E770}" srcOrd="1" destOrd="0" parTransId="{155C5359-16C8-48A5-BC00-6AB761F6607C}" sibTransId="{B36DCC2E-4444-4CCC-9F22-34C8106B6B85}"/>
    <dgm:cxn modelId="{0F31BA0D-08A8-471A-AE5A-B930984246AC}" type="presOf" srcId="{EF4D8D88-616A-43BF-B2B9-04CCCBFCAEC5}" destId="{B6771866-0E7E-40E8-9B03-00BA53681255}" srcOrd="0" destOrd="0" presId="urn:microsoft.com/office/officeart/2005/8/layout/vList2"/>
    <dgm:cxn modelId="{58065924-F172-4161-ADF2-02BB083903E8}" type="presOf" srcId="{8062BF9F-98C8-4108-A0BC-3F361710E770}" destId="{82D75A39-FE5C-4C8C-9EA5-CF93427C462A}" srcOrd="0" destOrd="0" presId="urn:microsoft.com/office/officeart/2005/8/layout/vList2"/>
    <dgm:cxn modelId="{367F5715-966E-4B3E-AB1E-D4596C430E16}" type="presOf" srcId="{42B14B51-E860-474D-874D-5271439269E9}" destId="{89EFC2C5-DF4E-4B77-AE1F-6085B894D841}" srcOrd="0" destOrd="0" presId="urn:microsoft.com/office/officeart/2005/8/layout/vList2"/>
    <dgm:cxn modelId="{2253830A-D5E2-419D-ABE2-B2BC335E1C65}" srcId="{42B14B51-E860-474D-874D-5271439269E9}" destId="{EF4D8D88-616A-43BF-B2B9-04CCCBFCAEC5}" srcOrd="0" destOrd="0" parTransId="{30CF59C4-8AD4-4B0D-A823-759270553155}" sibTransId="{A31138F4-62E9-4E62-98A7-E4328DCBFE0E}"/>
    <dgm:cxn modelId="{00DCE802-9936-4EF9-A726-9239EBB4320F}" type="presParOf" srcId="{89EFC2C5-DF4E-4B77-AE1F-6085B894D841}" destId="{B6771866-0E7E-40E8-9B03-00BA53681255}" srcOrd="0" destOrd="0" presId="urn:microsoft.com/office/officeart/2005/8/layout/vList2"/>
    <dgm:cxn modelId="{D69D4F5D-10C7-4504-ACD6-4B51760C1883}" type="presParOf" srcId="{89EFC2C5-DF4E-4B77-AE1F-6085B894D841}" destId="{DFDE2DF9-FCCE-4C31-B79D-75486D18C751}" srcOrd="1" destOrd="0" presId="urn:microsoft.com/office/officeart/2005/8/layout/vList2"/>
    <dgm:cxn modelId="{C2043FCF-ABDD-42F7-9B32-181EB7A596F1}" type="presParOf" srcId="{89EFC2C5-DF4E-4B77-AE1F-6085B894D841}" destId="{82D75A39-FE5C-4C8C-9EA5-CF93427C462A}" srcOrd="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103.xml><?xml version="1.0" encoding="utf-8"?>
<dgm:dataModel xmlns:dgm="http://schemas.openxmlformats.org/drawingml/2006/diagram" xmlns:a="http://schemas.openxmlformats.org/drawingml/2006/main">
  <dgm:ptLst>
    <dgm:pt modelId="{E0ED3B49-5A11-4D59-AE32-316830E8272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1B9E105-4120-4931-9DED-1780A135430E}">
      <dgm:prSet phldrT="[Testo]" custT="1"/>
      <dgm:spPr/>
      <dgm:t>
        <a:bodyPr/>
        <a:lstStyle/>
        <a:p>
          <a:r>
            <a:rPr lang="it-IT" sz="2000" dirty="0" smtClean="0"/>
            <a:t>Impegni e scadenze</a:t>
          </a:r>
          <a:endParaRPr lang="it-IT" sz="2000" dirty="0"/>
        </a:p>
      </dgm:t>
    </dgm:pt>
    <dgm:pt modelId="{2AA545A5-64CB-422B-A8FF-59230265256D}" type="parTrans" cxnId="{99D6C6C3-887C-4B03-95D7-3134CD93B8D3}">
      <dgm:prSet/>
      <dgm:spPr/>
      <dgm:t>
        <a:bodyPr/>
        <a:lstStyle/>
        <a:p>
          <a:endParaRPr lang="it-IT" sz="2800"/>
        </a:p>
      </dgm:t>
    </dgm:pt>
    <dgm:pt modelId="{424A1DCB-DA84-4266-8F48-089C52AB9F7F}" type="sibTrans" cxnId="{99D6C6C3-887C-4B03-95D7-3134CD93B8D3}">
      <dgm:prSet/>
      <dgm:spPr/>
      <dgm:t>
        <a:bodyPr/>
        <a:lstStyle/>
        <a:p>
          <a:endParaRPr lang="it-IT" sz="2800"/>
        </a:p>
      </dgm:t>
    </dgm:pt>
    <dgm:pt modelId="{9AC02135-2974-4C19-8010-CE3C17B01F5F}">
      <dgm:prSet phldrT="[Testo]" custT="1"/>
      <dgm:spPr/>
      <dgm:t>
        <a:bodyPr/>
        <a:lstStyle/>
        <a:p>
          <a:r>
            <a:rPr lang="it-IT" sz="2800" dirty="0" smtClean="0"/>
            <a:t>Condivisione piano di lavoro </a:t>
          </a:r>
          <a:endParaRPr lang="it-IT" sz="2800" dirty="0"/>
        </a:p>
      </dgm:t>
    </dgm:pt>
    <dgm:pt modelId="{0AC746BA-0D67-450D-98DC-FDD762B0CE91}" type="parTrans" cxnId="{B3620282-C1E0-4524-8237-8F82AF3112EC}">
      <dgm:prSet/>
      <dgm:spPr/>
      <dgm:t>
        <a:bodyPr/>
        <a:lstStyle/>
        <a:p>
          <a:endParaRPr lang="it-IT" sz="2800"/>
        </a:p>
      </dgm:t>
    </dgm:pt>
    <dgm:pt modelId="{F59CF7C0-EA04-4357-8732-7FBB15CBCF87}" type="sibTrans" cxnId="{B3620282-C1E0-4524-8237-8F82AF3112EC}">
      <dgm:prSet/>
      <dgm:spPr/>
      <dgm:t>
        <a:bodyPr/>
        <a:lstStyle/>
        <a:p>
          <a:endParaRPr lang="it-IT" sz="2800"/>
        </a:p>
      </dgm:t>
    </dgm:pt>
    <dgm:pt modelId="{E51596C8-E472-4DC4-B223-8F0592DBD454}">
      <dgm:prSet phldrT="[Testo]" custT="1"/>
      <dgm:spPr/>
      <dgm:t>
        <a:bodyPr/>
        <a:lstStyle/>
        <a:p>
          <a:r>
            <a:rPr lang="it-IT" sz="2400" dirty="0" smtClean="0"/>
            <a:t>Format contributi </a:t>
          </a:r>
          <a:endParaRPr lang="it-IT" sz="2400" dirty="0"/>
        </a:p>
      </dgm:t>
    </dgm:pt>
    <dgm:pt modelId="{030957A7-C92B-4510-8D61-EF277EE39BBA}" type="parTrans" cxnId="{80358FFA-CDD6-400D-A452-6631FDAF80A8}">
      <dgm:prSet/>
      <dgm:spPr/>
      <dgm:t>
        <a:bodyPr/>
        <a:lstStyle/>
        <a:p>
          <a:endParaRPr lang="it-IT" sz="2800"/>
        </a:p>
      </dgm:t>
    </dgm:pt>
    <dgm:pt modelId="{5242C4EC-2912-4C8A-B63F-8B02EDD2B286}" type="sibTrans" cxnId="{80358FFA-CDD6-400D-A452-6631FDAF80A8}">
      <dgm:prSet/>
      <dgm:spPr/>
      <dgm:t>
        <a:bodyPr/>
        <a:lstStyle/>
        <a:p>
          <a:endParaRPr lang="it-IT" sz="2800"/>
        </a:p>
      </dgm:t>
    </dgm:pt>
    <dgm:pt modelId="{49BA2AC9-8961-4AAF-BCBF-4F09610E496A}">
      <dgm:prSet phldrT="[Testo]" custT="1"/>
      <dgm:spPr/>
      <dgm:t>
        <a:bodyPr/>
        <a:lstStyle/>
        <a:p>
          <a:r>
            <a:rPr lang="it-IT" sz="2800" dirty="0" smtClean="0"/>
            <a:t>Presentazione e chiarimenti per la compilazione del format</a:t>
          </a:r>
          <a:endParaRPr lang="it-IT" sz="2800" dirty="0"/>
        </a:p>
      </dgm:t>
    </dgm:pt>
    <dgm:pt modelId="{0620C290-809D-4A54-8A77-D640270E55E5}" type="parTrans" cxnId="{F9927A68-4F1F-4497-848F-A1FD62B19E09}">
      <dgm:prSet/>
      <dgm:spPr/>
      <dgm:t>
        <a:bodyPr/>
        <a:lstStyle/>
        <a:p>
          <a:endParaRPr lang="it-IT" sz="2800"/>
        </a:p>
      </dgm:t>
    </dgm:pt>
    <dgm:pt modelId="{7B925CFB-03A6-47B8-84D5-838C5BED5BCE}" type="sibTrans" cxnId="{F9927A68-4F1F-4497-848F-A1FD62B19E09}">
      <dgm:prSet/>
      <dgm:spPr/>
      <dgm:t>
        <a:bodyPr/>
        <a:lstStyle/>
        <a:p>
          <a:endParaRPr lang="it-IT" sz="2800"/>
        </a:p>
      </dgm:t>
    </dgm:pt>
    <dgm:pt modelId="{5CABB013-C727-4154-8D37-4F0D43D878B9}">
      <dgm:prSet phldrT="[Testo]" custT="1"/>
      <dgm:spPr/>
      <dgm:t>
        <a:bodyPr/>
        <a:lstStyle/>
        <a:p>
          <a:r>
            <a:rPr lang="it-IT" sz="2400" dirty="0" smtClean="0"/>
            <a:t>Strumenti e modalità di lavoro</a:t>
          </a:r>
          <a:endParaRPr lang="it-IT" sz="2400" dirty="0"/>
        </a:p>
      </dgm:t>
    </dgm:pt>
    <dgm:pt modelId="{64295AD3-2413-4061-A8D8-E59D147D6AE3}" type="parTrans" cxnId="{E78B13C4-6749-451D-B158-EA8545CB6490}">
      <dgm:prSet/>
      <dgm:spPr/>
      <dgm:t>
        <a:bodyPr/>
        <a:lstStyle/>
        <a:p>
          <a:endParaRPr lang="it-IT" sz="2800"/>
        </a:p>
      </dgm:t>
    </dgm:pt>
    <dgm:pt modelId="{4294BCD3-B897-4FAE-89BE-84A6ABAD3262}" type="sibTrans" cxnId="{E78B13C4-6749-451D-B158-EA8545CB6490}">
      <dgm:prSet/>
      <dgm:spPr/>
      <dgm:t>
        <a:bodyPr/>
        <a:lstStyle/>
        <a:p>
          <a:endParaRPr lang="it-IT" sz="2800"/>
        </a:p>
      </dgm:t>
    </dgm:pt>
    <dgm:pt modelId="{08B2197F-4041-498B-A9A2-D922A43DB1B0}">
      <dgm:prSet phldrT="[Testo]" custT="1"/>
      <dgm:spPr/>
      <dgm:t>
        <a:bodyPr/>
        <a:lstStyle/>
        <a:p>
          <a:r>
            <a:rPr lang="it-IT" sz="2400" dirty="0" smtClean="0"/>
            <a:t>Forum discussione http://www.innovatoripa.it/groups/strategia-innovazione-sicilia</a:t>
          </a:r>
          <a:endParaRPr lang="it-IT" sz="2400" dirty="0"/>
        </a:p>
      </dgm:t>
    </dgm:pt>
    <dgm:pt modelId="{B0805DE2-505B-42BA-B897-F7A71747B9AF}" type="parTrans" cxnId="{18323BEF-6A56-4242-A976-1BA8079A813D}">
      <dgm:prSet/>
      <dgm:spPr/>
      <dgm:t>
        <a:bodyPr/>
        <a:lstStyle/>
        <a:p>
          <a:endParaRPr lang="it-IT" sz="2800"/>
        </a:p>
      </dgm:t>
    </dgm:pt>
    <dgm:pt modelId="{DAE6374E-10D7-4AD2-953F-848ABFC5F6E4}" type="sibTrans" cxnId="{18323BEF-6A56-4242-A976-1BA8079A813D}">
      <dgm:prSet/>
      <dgm:spPr/>
      <dgm:t>
        <a:bodyPr/>
        <a:lstStyle/>
        <a:p>
          <a:endParaRPr lang="it-IT" sz="2800"/>
        </a:p>
      </dgm:t>
    </dgm:pt>
    <dgm:pt modelId="{E2BD00C0-7E72-4721-9A6B-E7D2AFFD0DC2}" type="pres">
      <dgm:prSet presAssocID="{E0ED3B49-5A11-4D59-AE32-316830E827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AFD280F-61D0-4EE9-B52F-FB2446A99276}" type="pres">
      <dgm:prSet presAssocID="{21B9E105-4120-4931-9DED-1780A135430E}" presName="composite" presStyleCnt="0"/>
      <dgm:spPr/>
    </dgm:pt>
    <dgm:pt modelId="{F5867A7D-84CC-4ABF-B0E6-DF9F283923CF}" type="pres">
      <dgm:prSet presAssocID="{21B9E105-4120-4931-9DED-1780A135430E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BD922C1-C6AF-40E3-BC00-4A2C5AD342A7}" type="pres">
      <dgm:prSet presAssocID="{21B9E105-4120-4931-9DED-1780A135430E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617589D-382A-43D9-89AF-4B7973CBDBC0}" type="pres">
      <dgm:prSet presAssocID="{424A1DCB-DA84-4266-8F48-089C52AB9F7F}" presName="space" presStyleCnt="0"/>
      <dgm:spPr/>
    </dgm:pt>
    <dgm:pt modelId="{EF862726-283D-4875-A6F8-9EABAC66B829}" type="pres">
      <dgm:prSet presAssocID="{E51596C8-E472-4DC4-B223-8F0592DBD454}" presName="composite" presStyleCnt="0"/>
      <dgm:spPr/>
    </dgm:pt>
    <dgm:pt modelId="{7F2A340E-59E4-4175-8854-BFDFADCB71D4}" type="pres">
      <dgm:prSet presAssocID="{E51596C8-E472-4DC4-B223-8F0592DBD454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4513309-A0E9-4D0F-A5A0-10C1399E3A82}" type="pres">
      <dgm:prSet presAssocID="{E51596C8-E472-4DC4-B223-8F0592DBD454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612A666-3B3F-4DA4-98DB-2C4E364E71E7}" type="pres">
      <dgm:prSet presAssocID="{5242C4EC-2912-4C8A-B63F-8B02EDD2B286}" presName="space" presStyleCnt="0"/>
      <dgm:spPr/>
    </dgm:pt>
    <dgm:pt modelId="{AE79901A-994D-4900-BA52-E3CCDF157C1A}" type="pres">
      <dgm:prSet presAssocID="{5CABB013-C727-4154-8D37-4F0D43D878B9}" presName="composite" presStyleCnt="0"/>
      <dgm:spPr/>
    </dgm:pt>
    <dgm:pt modelId="{A49B64DD-D913-4BEC-83CF-83365F2FB831}" type="pres">
      <dgm:prSet presAssocID="{5CABB013-C727-4154-8D37-4F0D43D878B9}" presName="parTx" presStyleLbl="alignNode1" presStyleIdx="2" presStyleCnt="3" custLinFactNeighborX="27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E16153D-110E-4957-9859-E9281CCD6FF8}" type="pres">
      <dgm:prSet presAssocID="{5CABB013-C727-4154-8D37-4F0D43D878B9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9927A68-4F1F-4497-848F-A1FD62B19E09}" srcId="{E51596C8-E472-4DC4-B223-8F0592DBD454}" destId="{49BA2AC9-8961-4AAF-BCBF-4F09610E496A}" srcOrd="0" destOrd="0" parTransId="{0620C290-809D-4A54-8A77-D640270E55E5}" sibTransId="{7B925CFB-03A6-47B8-84D5-838C5BED5BCE}"/>
    <dgm:cxn modelId="{18323BEF-6A56-4242-A976-1BA8079A813D}" srcId="{5CABB013-C727-4154-8D37-4F0D43D878B9}" destId="{08B2197F-4041-498B-A9A2-D922A43DB1B0}" srcOrd="0" destOrd="0" parTransId="{B0805DE2-505B-42BA-B897-F7A71747B9AF}" sibTransId="{DAE6374E-10D7-4AD2-953F-848ABFC5F6E4}"/>
    <dgm:cxn modelId="{924B9154-AB53-4E80-B122-4C6D9CCAA207}" type="presOf" srcId="{21B9E105-4120-4931-9DED-1780A135430E}" destId="{F5867A7D-84CC-4ABF-B0E6-DF9F283923CF}" srcOrd="0" destOrd="0" presId="urn:microsoft.com/office/officeart/2005/8/layout/hList1"/>
    <dgm:cxn modelId="{729C4EF0-956D-47A0-A793-51B20064C72E}" type="presOf" srcId="{E0ED3B49-5A11-4D59-AE32-316830E82720}" destId="{E2BD00C0-7E72-4721-9A6B-E7D2AFFD0DC2}" srcOrd="0" destOrd="0" presId="urn:microsoft.com/office/officeart/2005/8/layout/hList1"/>
    <dgm:cxn modelId="{80358FFA-CDD6-400D-A452-6631FDAF80A8}" srcId="{E0ED3B49-5A11-4D59-AE32-316830E82720}" destId="{E51596C8-E472-4DC4-B223-8F0592DBD454}" srcOrd="1" destOrd="0" parTransId="{030957A7-C92B-4510-8D61-EF277EE39BBA}" sibTransId="{5242C4EC-2912-4C8A-B63F-8B02EDD2B286}"/>
    <dgm:cxn modelId="{E78B13C4-6749-451D-B158-EA8545CB6490}" srcId="{E0ED3B49-5A11-4D59-AE32-316830E82720}" destId="{5CABB013-C727-4154-8D37-4F0D43D878B9}" srcOrd="2" destOrd="0" parTransId="{64295AD3-2413-4061-A8D8-E59D147D6AE3}" sibTransId="{4294BCD3-B897-4FAE-89BE-84A6ABAD3262}"/>
    <dgm:cxn modelId="{7FBCF68B-AF81-40AA-B523-203CD79484EA}" type="presOf" srcId="{08B2197F-4041-498B-A9A2-D922A43DB1B0}" destId="{5E16153D-110E-4957-9859-E9281CCD6FF8}" srcOrd="0" destOrd="0" presId="urn:microsoft.com/office/officeart/2005/8/layout/hList1"/>
    <dgm:cxn modelId="{FC530CE7-4837-45D0-A766-CB89811C5CC2}" type="presOf" srcId="{9AC02135-2974-4C19-8010-CE3C17B01F5F}" destId="{1BD922C1-C6AF-40E3-BC00-4A2C5AD342A7}" srcOrd="0" destOrd="0" presId="urn:microsoft.com/office/officeart/2005/8/layout/hList1"/>
    <dgm:cxn modelId="{12770F74-CD86-4A16-9639-941D4E987A2A}" type="presOf" srcId="{5CABB013-C727-4154-8D37-4F0D43D878B9}" destId="{A49B64DD-D913-4BEC-83CF-83365F2FB831}" srcOrd="0" destOrd="0" presId="urn:microsoft.com/office/officeart/2005/8/layout/hList1"/>
    <dgm:cxn modelId="{B3620282-C1E0-4524-8237-8F82AF3112EC}" srcId="{21B9E105-4120-4931-9DED-1780A135430E}" destId="{9AC02135-2974-4C19-8010-CE3C17B01F5F}" srcOrd="0" destOrd="0" parTransId="{0AC746BA-0D67-450D-98DC-FDD762B0CE91}" sibTransId="{F59CF7C0-EA04-4357-8732-7FBB15CBCF87}"/>
    <dgm:cxn modelId="{99D6C6C3-887C-4B03-95D7-3134CD93B8D3}" srcId="{E0ED3B49-5A11-4D59-AE32-316830E82720}" destId="{21B9E105-4120-4931-9DED-1780A135430E}" srcOrd="0" destOrd="0" parTransId="{2AA545A5-64CB-422B-A8FF-59230265256D}" sibTransId="{424A1DCB-DA84-4266-8F48-089C52AB9F7F}"/>
    <dgm:cxn modelId="{F335AF09-6ABC-4600-ACC0-C3B581BC7BEF}" type="presOf" srcId="{E51596C8-E472-4DC4-B223-8F0592DBD454}" destId="{7F2A340E-59E4-4175-8854-BFDFADCB71D4}" srcOrd="0" destOrd="0" presId="urn:microsoft.com/office/officeart/2005/8/layout/hList1"/>
    <dgm:cxn modelId="{651AA222-0403-4CA7-9A5B-B16E1BE2C6B9}" type="presOf" srcId="{49BA2AC9-8961-4AAF-BCBF-4F09610E496A}" destId="{94513309-A0E9-4D0F-A5A0-10C1399E3A82}" srcOrd="0" destOrd="0" presId="urn:microsoft.com/office/officeart/2005/8/layout/hList1"/>
    <dgm:cxn modelId="{DB95ADD0-D8C1-42D3-A673-E14EAF518B8A}" type="presParOf" srcId="{E2BD00C0-7E72-4721-9A6B-E7D2AFFD0DC2}" destId="{0AFD280F-61D0-4EE9-B52F-FB2446A99276}" srcOrd="0" destOrd="0" presId="urn:microsoft.com/office/officeart/2005/8/layout/hList1"/>
    <dgm:cxn modelId="{797A5764-E928-427F-A647-137F58188855}" type="presParOf" srcId="{0AFD280F-61D0-4EE9-B52F-FB2446A99276}" destId="{F5867A7D-84CC-4ABF-B0E6-DF9F283923CF}" srcOrd="0" destOrd="0" presId="urn:microsoft.com/office/officeart/2005/8/layout/hList1"/>
    <dgm:cxn modelId="{F8B8412F-F420-4110-9D1A-792BFB51D306}" type="presParOf" srcId="{0AFD280F-61D0-4EE9-B52F-FB2446A99276}" destId="{1BD922C1-C6AF-40E3-BC00-4A2C5AD342A7}" srcOrd="1" destOrd="0" presId="urn:microsoft.com/office/officeart/2005/8/layout/hList1"/>
    <dgm:cxn modelId="{B15120F0-11D1-4A64-BB87-BB58CEF0EB3F}" type="presParOf" srcId="{E2BD00C0-7E72-4721-9A6B-E7D2AFFD0DC2}" destId="{C617589D-382A-43D9-89AF-4B7973CBDBC0}" srcOrd="1" destOrd="0" presId="urn:microsoft.com/office/officeart/2005/8/layout/hList1"/>
    <dgm:cxn modelId="{030E7818-BB47-45E4-B9BF-1BD0D96AF304}" type="presParOf" srcId="{E2BD00C0-7E72-4721-9A6B-E7D2AFFD0DC2}" destId="{EF862726-283D-4875-A6F8-9EABAC66B829}" srcOrd="2" destOrd="0" presId="urn:microsoft.com/office/officeart/2005/8/layout/hList1"/>
    <dgm:cxn modelId="{E2CD719E-E068-4B5A-B7C4-8CD4F66BBFD7}" type="presParOf" srcId="{EF862726-283D-4875-A6F8-9EABAC66B829}" destId="{7F2A340E-59E4-4175-8854-BFDFADCB71D4}" srcOrd="0" destOrd="0" presId="urn:microsoft.com/office/officeart/2005/8/layout/hList1"/>
    <dgm:cxn modelId="{D997C176-E8F4-4283-A9CA-B9806AB6FC37}" type="presParOf" srcId="{EF862726-283D-4875-A6F8-9EABAC66B829}" destId="{94513309-A0E9-4D0F-A5A0-10C1399E3A82}" srcOrd="1" destOrd="0" presId="urn:microsoft.com/office/officeart/2005/8/layout/hList1"/>
    <dgm:cxn modelId="{11664B41-3205-4B2B-8481-388B98F15CD3}" type="presParOf" srcId="{E2BD00C0-7E72-4721-9A6B-E7D2AFFD0DC2}" destId="{A612A666-3B3F-4DA4-98DB-2C4E364E71E7}" srcOrd="3" destOrd="0" presId="urn:microsoft.com/office/officeart/2005/8/layout/hList1"/>
    <dgm:cxn modelId="{BC33B074-27D0-45CF-B7CD-003584DED617}" type="presParOf" srcId="{E2BD00C0-7E72-4721-9A6B-E7D2AFFD0DC2}" destId="{AE79901A-994D-4900-BA52-E3CCDF157C1A}" srcOrd="4" destOrd="0" presId="urn:microsoft.com/office/officeart/2005/8/layout/hList1"/>
    <dgm:cxn modelId="{4CBDBB8C-B36C-48E1-9276-803CC3AEAE16}" type="presParOf" srcId="{AE79901A-994D-4900-BA52-E3CCDF157C1A}" destId="{A49B64DD-D913-4BEC-83CF-83365F2FB831}" srcOrd="0" destOrd="0" presId="urn:microsoft.com/office/officeart/2005/8/layout/hList1"/>
    <dgm:cxn modelId="{E47C6EE9-7A5D-4A3E-9075-E06BD08CC82D}" type="presParOf" srcId="{AE79901A-994D-4900-BA52-E3CCDF157C1A}" destId="{5E16153D-110E-4957-9859-E9281CCD6F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4.xml><?xml version="1.0" encoding="utf-8"?>
<dgm:dataModel xmlns:dgm="http://schemas.openxmlformats.org/drawingml/2006/diagram" xmlns:a="http://schemas.openxmlformats.org/drawingml/2006/main">
  <dgm:ptLst>
    <dgm:pt modelId="{E0ED3B49-5A11-4D59-AE32-316830E82720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CABB013-C727-4154-8D37-4F0D43D878B9}">
      <dgm:prSet phldrT="[Testo]" custT="1"/>
      <dgm:spPr/>
      <dgm:t>
        <a:bodyPr/>
        <a:lstStyle/>
        <a:p>
          <a:r>
            <a:rPr lang="it-IT" sz="2400" dirty="0" smtClean="0"/>
            <a:t>Strumenti e modalità di lavoro</a:t>
          </a:r>
          <a:endParaRPr lang="it-IT" sz="2400" dirty="0"/>
        </a:p>
      </dgm:t>
    </dgm:pt>
    <dgm:pt modelId="{64295AD3-2413-4061-A8D8-E59D147D6AE3}" type="parTrans" cxnId="{E78B13C4-6749-451D-B158-EA8545CB6490}">
      <dgm:prSet/>
      <dgm:spPr/>
      <dgm:t>
        <a:bodyPr/>
        <a:lstStyle/>
        <a:p>
          <a:endParaRPr lang="it-IT" sz="2800"/>
        </a:p>
      </dgm:t>
    </dgm:pt>
    <dgm:pt modelId="{4294BCD3-B897-4FAE-89BE-84A6ABAD3262}" type="sibTrans" cxnId="{E78B13C4-6749-451D-B158-EA8545CB6490}">
      <dgm:prSet/>
      <dgm:spPr/>
      <dgm:t>
        <a:bodyPr/>
        <a:lstStyle/>
        <a:p>
          <a:endParaRPr lang="it-IT" sz="2800"/>
        </a:p>
      </dgm:t>
    </dgm:pt>
    <dgm:pt modelId="{08B2197F-4041-498B-A9A2-D922A43DB1B0}">
      <dgm:prSet phldrT="[Testo]" custT="1"/>
      <dgm:spPr/>
      <dgm:t>
        <a:bodyPr/>
        <a:lstStyle/>
        <a:p>
          <a:r>
            <a:rPr lang="it-IT" sz="2400" dirty="0" smtClean="0"/>
            <a:t>Comunità su </a:t>
          </a:r>
          <a:r>
            <a:rPr lang="it-IT" sz="2400" dirty="0" err="1" smtClean="0"/>
            <a:t>InnovatoriPA</a:t>
          </a:r>
          <a:endParaRPr lang="it-IT" sz="2400" dirty="0"/>
        </a:p>
      </dgm:t>
    </dgm:pt>
    <dgm:pt modelId="{B0805DE2-505B-42BA-B897-F7A71747B9AF}" type="parTrans" cxnId="{18323BEF-6A56-4242-A976-1BA8079A813D}">
      <dgm:prSet/>
      <dgm:spPr/>
      <dgm:t>
        <a:bodyPr/>
        <a:lstStyle/>
        <a:p>
          <a:endParaRPr lang="it-IT" sz="2800"/>
        </a:p>
      </dgm:t>
    </dgm:pt>
    <dgm:pt modelId="{DAE6374E-10D7-4AD2-953F-848ABFC5F6E4}" type="sibTrans" cxnId="{18323BEF-6A56-4242-A976-1BA8079A813D}">
      <dgm:prSet/>
      <dgm:spPr/>
      <dgm:t>
        <a:bodyPr/>
        <a:lstStyle/>
        <a:p>
          <a:endParaRPr lang="it-IT" sz="2800"/>
        </a:p>
      </dgm:t>
    </dgm:pt>
    <dgm:pt modelId="{F80293C5-9B12-4F73-B1FC-5341342B0FA2}">
      <dgm:prSet phldrT="[Testo]" custT="1"/>
      <dgm:spPr/>
      <dgm:t>
        <a:bodyPr/>
        <a:lstStyle/>
        <a:p>
          <a:r>
            <a:rPr lang="it-IT" sz="2400" dirty="0" smtClean="0"/>
            <a:t>Download documenti (Slide tavolo, Slide Esperto, Piano lavoro, Format contributo)</a:t>
          </a:r>
          <a:endParaRPr lang="it-IT" sz="2400" dirty="0"/>
        </a:p>
      </dgm:t>
    </dgm:pt>
    <dgm:pt modelId="{86557904-AB89-4A2B-9ACB-1ABB69BAB086}" type="parTrans" cxnId="{845A9FBB-9AB1-4EEA-9BAA-EFA493E8D780}">
      <dgm:prSet/>
      <dgm:spPr/>
      <dgm:t>
        <a:bodyPr/>
        <a:lstStyle/>
        <a:p>
          <a:endParaRPr lang="it-IT"/>
        </a:p>
      </dgm:t>
    </dgm:pt>
    <dgm:pt modelId="{75E80B86-89AF-4F7B-895E-991E6D78954B}" type="sibTrans" cxnId="{845A9FBB-9AB1-4EEA-9BAA-EFA493E8D780}">
      <dgm:prSet/>
      <dgm:spPr/>
      <dgm:t>
        <a:bodyPr/>
        <a:lstStyle/>
        <a:p>
          <a:endParaRPr lang="it-IT"/>
        </a:p>
      </dgm:t>
    </dgm:pt>
    <dgm:pt modelId="{0C1D7CF0-B1DE-4AFF-9EEC-68AA94BE4894}">
      <dgm:prSet phldrT="[Testo]" custT="1"/>
      <dgm:spPr/>
      <dgm:t>
        <a:bodyPr/>
        <a:lstStyle/>
        <a:p>
          <a:r>
            <a:rPr lang="it-IT" sz="2400" dirty="0" smtClean="0"/>
            <a:t>Caricamento contributo</a:t>
          </a:r>
          <a:endParaRPr lang="it-IT" sz="2400" dirty="0"/>
        </a:p>
      </dgm:t>
    </dgm:pt>
    <dgm:pt modelId="{9BC87F8D-6A47-4474-99E8-E68DB4ACF69B}" type="parTrans" cxnId="{366122DF-9F50-4282-A85F-CBACCB4E77F0}">
      <dgm:prSet/>
      <dgm:spPr/>
      <dgm:t>
        <a:bodyPr/>
        <a:lstStyle/>
        <a:p>
          <a:endParaRPr lang="it-IT"/>
        </a:p>
      </dgm:t>
    </dgm:pt>
    <dgm:pt modelId="{CB663712-A2F8-4FD2-80C0-D9CE44413293}" type="sibTrans" cxnId="{366122DF-9F50-4282-A85F-CBACCB4E77F0}">
      <dgm:prSet/>
      <dgm:spPr/>
      <dgm:t>
        <a:bodyPr/>
        <a:lstStyle/>
        <a:p>
          <a:endParaRPr lang="it-IT"/>
        </a:p>
      </dgm:t>
    </dgm:pt>
    <dgm:pt modelId="{31FA59E0-FC20-404A-ADDC-AA8009CE9774}">
      <dgm:prSet phldrT="[Testo]" custT="1"/>
      <dgm:spPr/>
      <dgm:t>
        <a:bodyPr/>
        <a:lstStyle/>
        <a:p>
          <a:r>
            <a:rPr lang="it-IT" sz="2400" dirty="0" smtClean="0"/>
            <a:t>Invio commenti </a:t>
          </a:r>
          <a:endParaRPr lang="it-IT" sz="2400" dirty="0"/>
        </a:p>
      </dgm:t>
    </dgm:pt>
    <dgm:pt modelId="{EAD2CDFC-DDB2-48BC-94DC-D06822F89299}" type="parTrans" cxnId="{E085E776-2789-4BD5-8786-927DC8E3F84D}">
      <dgm:prSet/>
      <dgm:spPr/>
      <dgm:t>
        <a:bodyPr/>
        <a:lstStyle/>
        <a:p>
          <a:endParaRPr lang="it-IT"/>
        </a:p>
      </dgm:t>
    </dgm:pt>
    <dgm:pt modelId="{8AFAA520-302D-49F3-B288-558F421D4A7A}" type="sibTrans" cxnId="{E085E776-2789-4BD5-8786-927DC8E3F84D}">
      <dgm:prSet/>
      <dgm:spPr/>
      <dgm:t>
        <a:bodyPr/>
        <a:lstStyle/>
        <a:p>
          <a:endParaRPr lang="it-IT"/>
        </a:p>
      </dgm:t>
    </dgm:pt>
    <dgm:pt modelId="{8E21086A-A768-4C12-A6A6-E59090BE6CDF}">
      <dgm:prSet phldrT="[Testo]" custT="1"/>
      <dgm:spPr/>
      <dgm:t>
        <a:bodyPr/>
        <a:lstStyle/>
        <a:p>
          <a:r>
            <a:rPr lang="it-IT" sz="2400" dirty="0" smtClean="0"/>
            <a:t>E-mail invio allegati: strategia.innovazione@regione.sicilia.it</a:t>
          </a:r>
          <a:endParaRPr lang="it-IT" sz="2400" dirty="0"/>
        </a:p>
      </dgm:t>
    </dgm:pt>
    <dgm:pt modelId="{D239408D-DDB5-4593-9494-9EBCE812E12E}" type="parTrans" cxnId="{2E63C216-43E1-4249-A7DE-F2A32E292EB2}">
      <dgm:prSet/>
      <dgm:spPr/>
      <dgm:t>
        <a:bodyPr/>
        <a:lstStyle/>
        <a:p>
          <a:endParaRPr lang="it-IT"/>
        </a:p>
      </dgm:t>
    </dgm:pt>
    <dgm:pt modelId="{974C8319-E5DA-430F-8ACE-403249911E01}" type="sibTrans" cxnId="{2E63C216-43E1-4249-A7DE-F2A32E292EB2}">
      <dgm:prSet/>
      <dgm:spPr/>
      <dgm:t>
        <a:bodyPr/>
        <a:lstStyle/>
        <a:p>
          <a:endParaRPr lang="it-IT"/>
        </a:p>
      </dgm:t>
    </dgm:pt>
    <dgm:pt modelId="{E2BD00C0-7E72-4721-9A6B-E7D2AFFD0DC2}" type="pres">
      <dgm:prSet presAssocID="{E0ED3B49-5A11-4D59-AE32-316830E8272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E79901A-994D-4900-BA52-E3CCDF157C1A}" type="pres">
      <dgm:prSet presAssocID="{5CABB013-C727-4154-8D37-4F0D43D878B9}" presName="composite" presStyleCnt="0"/>
      <dgm:spPr/>
    </dgm:pt>
    <dgm:pt modelId="{A49B64DD-D913-4BEC-83CF-83365F2FB831}" type="pres">
      <dgm:prSet presAssocID="{5CABB013-C727-4154-8D37-4F0D43D878B9}" presName="parTx" presStyleLbl="alignNode1" presStyleIdx="0" presStyleCnt="1" custScaleY="100000" custLinFactNeighborX="274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E16153D-110E-4957-9859-E9281CCD6FF8}" type="pres">
      <dgm:prSet presAssocID="{5CABB013-C727-4154-8D37-4F0D43D878B9}" presName="desTx" presStyleLbl="align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CAAB5B8-1E2C-4851-92D0-4D56ABDD74F4}" type="presOf" srcId="{5CABB013-C727-4154-8D37-4F0D43D878B9}" destId="{A49B64DD-D913-4BEC-83CF-83365F2FB831}" srcOrd="0" destOrd="0" presId="urn:microsoft.com/office/officeart/2005/8/layout/hList1"/>
    <dgm:cxn modelId="{E13A341B-59AA-4D77-B21E-97E29990AA0F}" type="presOf" srcId="{0C1D7CF0-B1DE-4AFF-9EEC-68AA94BE4894}" destId="{5E16153D-110E-4957-9859-E9281CCD6FF8}" srcOrd="0" destOrd="2" presId="urn:microsoft.com/office/officeart/2005/8/layout/hList1"/>
    <dgm:cxn modelId="{3A502771-A97F-498D-823A-D9FB8CEB3F80}" type="presOf" srcId="{31FA59E0-FC20-404A-ADDC-AA8009CE9774}" destId="{5E16153D-110E-4957-9859-E9281CCD6FF8}" srcOrd="0" destOrd="3" presId="urn:microsoft.com/office/officeart/2005/8/layout/hList1"/>
    <dgm:cxn modelId="{3896E328-2588-49EA-96E3-0EB718F27D37}" type="presOf" srcId="{08B2197F-4041-498B-A9A2-D922A43DB1B0}" destId="{5E16153D-110E-4957-9859-E9281CCD6FF8}" srcOrd="0" destOrd="0" presId="urn:microsoft.com/office/officeart/2005/8/layout/hList1"/>
    <dgm:cxn modelId="{ACD6FB4A-3353-4866-A2C9-44A1AB1EFF25}" type="presOf" srcId="{8E21086A-A768-4C12-A6A6-E59090BE6CDF}" destId="{5E16153D-110E-4957-9859-E9281CCD6FF8}" srcOrd="0" destOrd="4" presId="urn:microsoft.com/office/officeart/2005/8/layout/hList1"/>
    <dgm:cxn modelId="{2E63C216-43E1-4249-A7DE-F2A32E292EB2}" srcId="{5CABB013-C727-4154-8D37-4F0D43D878B9}" destId="{8E21086A-A768-4C12-A6A6-E59090BE6CDF}" srcOrd="4" destOrd="0" parTransId="{D239408D-DDB5-4593-9494-9EBCE812E12E}" sibTransId="{974C8319-E5DA-430F-8ACE-403249911E01}"/>
    <dgm:cxn modelId="{E085E776-2789-4BD5-8786-927DC8E3F84D}" srcId="{5CABB013-C727-4154-8D37-4F0D43D878B9}" destId="{31FA59E0-FC20-404A-ADDC-AA8009CE9774}" srcOrd="3" destOrd="0" parTransId="{EAD2CDFC-DDB2-48BC-94DC-D06822F89299}" sibTransId="{8AFAA520-302D-49F3-B288-558F421D4A7A}"/>
    <dgm:cxn modelId="{54E08F3D-8A68-452C-9A9C-6A2A6CA630CC}" type="presOf" srcId="{F80293C5-9B12-4F73-B1FC-5341342B0FA2}" destId="{5E16153D-110E-4957-9859-E9281CCD6FF8}" srcOrd="0" destOrd="1" presId="urn:microsoft.com/office/officeart/2005/8/layout/hList1"/>
    <dgm:cxn modelId="{BB335D87-E074-443B-B221-755A03BECFFD}" type="presOf" srcId="{E0ED3B49-5A11-4D59-AE32-316830E82720}" destId="{E2BD00C0-7E72-4721-9A6B-E7D2AFFD0DC2}" srcOrd="0" destOrd="0" presId="urn:microsoft.com/office/officeart/2005/8/layout/hList1"/>
    <dgm:cxn modelId="{E78B13C4-6749-451D-B158-EA8545CB6490}" srcId="{E0ED3B49-5A11-4D59-AE32-316830E82720}" destId="{5CABB013-C727-4154-8D37-4F0D43D878B9}" srcOrd="0" destOrd="0" parTransId="{64295AD3-2413-4061-A8D8-E59D147D6AE3}" sibTransId="{4294BCD3-B897-4FAE-89BE-84A6ABAD3262}"/>
    <dgm:cxn modelId="{845A9FBB-9AB1-4EEA-9BAA-EFA493E8D780}" srcId="{5CABB013-C727-4154-8D37-4F0D43D878B9}" destId="{F80293C5-9B12-4F73-B1FC-5341342B0FA2}" srcOrd="1" destOrd="0" parTransId="{86557904-AB89-4A2B-9ACB-1ABB69BAB086}" sibTransId="{75E80B86-89AF-4F7B-895E-991E6D78954B}"/>
    <dgm:cxn modelId="{366122DF-9F50-4282-A85F-CBACCB4E77F0}" srcId="{5CABB013-C727-4154-8D37-4F0D43D878B9}" destId="{0C1D7CF0-B1DE-4AFF-9EEC-68AA94BE4894}" srcOrd="2" destOrd="0" parTransId="{9BC87F8D-6A47-4474-99E8-E68DB4ACF69B}" sibTransId="{CB663712-A2F8-4FD2-80C0-D9CE44413293}"/>
    <dgm:cxn modelId="{18323BEF-6A56-4242-A976-1BA8079A813D}" srcId="{5CABB013-C727-4154-8D37-4F0D43D878B9}" destId="{08B2197F-4041-498B-A9A2-D922A43DB1B0}" srcOrd="0" destOrd="0" parTransId="{B0805DE2-505B-42BA-B897-F7A71747B9AF}" sibTransId="{DAE6374E-10D7-4AD2-953F-848ABFC5F6E4}"/>
    <dgm:cxn modelId="{9AAE4482-3ABE-4104-82BD-C8CE26290A7B}" type="presParOf" srcId="{E2BD00C0-7E72-4721-9A6B-E7D2AFFD0DC2}" destId="{AE79901A-994D-4900-BA52-E3CCDF157C1A}" srcOrd="0" destOrd="0" presId="urn:microsoft.com/office/officeart/2005/8/layout/hList1"/>
    <dgm:cxn modelId="{D8EE0778-D882-4CB3-9D14-10E513028CA3}" type="presParOf" srcId="{AE79901A-994D-4900-BA52-E3CCDF157C1A}" destId="{A49B64DD-D913-4BEC-83CF-83365F2FB831}" srcOrd="0" destOrd="0" presId="urn:microsoft.com/office/officeart/2005/8/layout/hList1"/>
    <dgm:cxn modelId="{DC3E21F1-AEDD-4D31-94FD-1C8E462C3603}" type="presParOf" srcId="{AE79901A-994D-4900-BA52-E3CCDF157C1A}" destId="{5E16153D-110E-4957-9859-E9281CCD6FF8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43075584-0A09-4F92-A3EE-4594CC46FEDC}" type="doc">
      <dgm:prSet loTypeId="urn:microsoft.com/office/officeart/2008/layout/LinedList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4DBD1FB0-9DEC-4BF1-BDFE-C56F2660AE47}">
      <dgm:prSet custT="1"/>
      <dgm:spPr/>
      <dgm:t>
        <a:bodyPr/>
        <a:lstStyle/>
        <a:p>
          <a:pPr algn="just" rtl="0"/>
          <a:endParaRPr lang="it-IT" sz="1800" b="1" i="0" dirty="0">
            <a:solidFill>
              <a:srgbClr val="C00000"/>
            </a:solidFill>
          </a:endParaRPr>
        </a:p>
      </dgm:t>
    </dgm:pt>
    <dgm:pt modelId="{977500EF-1C8F-4ABA-A49C-70BA86BBB338}" type="par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95AA54F3-60A7-4C69-9BA0-A132406858AF}" type="sib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D7EA6325-6413-4438-83E4-6701E2C57717}" type="pres">
      <dgm:prSet presAssocID="{43075584-0A09-4F92-A3EE-4594CC46FED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C53CC59A-ED65-4B0D-9470-3F18E593A142}" type="pres">
      <dgm:prSet presAssocID="{4DBD1FB0-9DEC-4BF1-BDFE-C56F2660AE47}" presName="thickLine" presStyleLbl="alignNode1" presStyleIdx="0" presStyleCnt="1"/>
      <dgm:spPr/>
    </dgm:pt>
    <dgm:pt modelId="{CCBE2F35-B449-4304-A4B7-EB4A0CE90FAA}" type="pres">
      <dgm:prSet presAssocID="{4DBD1FB0-9DEC-4BF1-BDFE-C56F2660AE47}" presName="horz1" presStyleCnt="0"/>
      <dgm:spPr/>
    </dgm:pt>
    <dgm:pt modelId="{2E4F97BB-80AE-4B89-8B32-FB05A53BD028}" type="pres">
      <dgm:prSet presAssocID="{4DBD1FB0-9DEC-4BF1-BDFE-C56F2660AE47}" presName="tx1" presStyleLbl="revTx" presStyleIdx="0" presStyleCnt="1" custLinFactNeighborY="-36433"/>
      <dgm:spPr/>
      <dgm:t>
        <a:bodyPr/>
        <a:lstStyle/>
        <a:p>
          <a:endParaRPr lang="it-IT"/>
        </a:p>
      </dgm:t>
    </dgm:pt>
    <dgm:pt modelId="{D1497074-FD56-4A1D-B803-63AFF8396209}" type="pres">
      <dgm:prSet presAssocID="{4DBD1FB0-9DEC-4BF1-BDFE-C56F2660AE47}" presName="vert1" presStyleCnt="0"/>
      <dgm:spPr/>
    </dgm:pt>
  </dgm:ptLst>
  <dgm:cxnLst>
    <dgm:cxn modelId="{DA81E436-CF28-438A-BB87-9E041811E5C1}" type="presOf" srcId="{43075584-0A09-4F92-A3EE-4594CC46FEDC}" destId="{D7EA6325-6413-4438-83E4-6701E2C57717}" srcOrd="0" destOrd="0" presId="urn:microsoft.com/office/officeart/2008/layout/LinedList"/>
    <dgm:cxn modelId="{96C8A48C-C5AF-46B5-9B5D-144C81DD0D8F}" srcId="{43075584-0A09-4F92-A3EE-4594CC46FEDC}" destId="{4DBD1FB0-9DEC-4BF1-BDFE-C56F2660AE47}" srcOrd="0" destOrd="0" parTransId="{977500EF-1C8F-4ABA-A49C-70BA86BBB338}" sibTransId="{95AA54F3-60A7-4C69-9BA0-A132406858AF}"/>
    <dgm:cxn modelId="{CB73D482-E1CF-4CE8-BE1E-72BB84B00763}" type="presOf" srcId="{4DBD1FB0-9DEC-4BF1-BDFE-C56F2660AE47}" destId="{2E4F97BB-80AE-4B89-8B32-FB05A53BD028}" srcOrd="0" destOrd="0" presId="urn:microsoft.com/office/officeart/2008/layout/LinedList"/>
    <dgm:cxn modelId="{42063C93-D5C6-454F-B102-7DA02195CE90}" type="presParOf" srcId="{D7EA6325-6413-4438-83E4-6701E2C57717}" destId="{C53CC59A-ED65-4B0D-9470-3F18E593A142}" srcOrd="0" destOrd="0" presId="urn:microsoft.com/office/officeart/2008/layout/LinedList"/>
    <dgm:cxn modelId="{94EF1127-37D7-4CC0-A756-2D9B74EC9D3A}" type="presParOf" srcId="{D7EA6325-6413-4438-83E4-6701E2C57717}" destId="{CCBE2F35-B449-4304-A4B7-EB4A0CE90FAA}" srcOrd="1" destOrd="0" presId="urn:microsoft.com/office/officeart/2008/layout/LinedList"/>
    <dgm:cxn modelId="{719808C6-BF55-48C9-8D6E-AAE6A2B2D594}" type="presParOf" srcId="{CCBE2F35-B449-4304-A4B7-EB4A0CE90FAA}" destId="{2E4F97BB-80AE-4B89-8B32-FB05A53BD028}" srcOrd="0" destOrd="0" presId="urn:microsoft.com/office/officeart/2008/layout/LinedList"/>
    <dgm:cxn modelId="{856E749B-00BA-4632-967C-1EE5A99355DC}" type="presParOf" srcId="{CCBE2F35-B449-4304-A4B7-EB4A0CE90FAA}" destId="{D1497074-FD56-4A1D-B803-63AFF839620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4239B68A-E7D9-43EB-BAA7-51C73576A697}" type="doc">
      <dgm:prSet loTypeId="urn:microsoft.com/office/officeart/2005/8/layout/cycle5" loCatId="cycle" qsTypeId="urn:microsoft.com/office/officeart/2005/8/quickstyle/3d6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53D6FF9-76BD-4BDE-B1E8-B27436EA941F}">
      <dgm:prSet phldrT="[Testo]"/>
      <dgm:spPr/>
      <dgm:t>
        <a:bodyPr/>
        <a:lstStyle/>
        <a:p>
          <a:r>
            <a:rPr lang="it-IT" dirty="0" smtClean="0"/>
            <a:t>Biotecnologie</a:t>
          </a:r>
          <a:endParaRPr lang="it-IT" dirty="0"/>
        </a:p>
      </dgm:t>
    </dgm:pt>
    <dgm:pt modelId="{4F8365F4-CA84-4B9A-AE88-7AD472ACAF3E}" type="parTrans" cxnId="{7BB8DB9A-99B6-453C-AA92-C3C9A5178C62}">
      <dgm:prSet/>
      <dgm:spPr/>
      <dgm:t>
        <a:bodyPr/>
        <a:lstStyle/>
        <a:p>
          <a:endParaRPr lang="it-IT"/>
        </a:p>
      </dgm:t>
    </dgm:pt>
    <dgm:pt modelId="{4F583956-5842-4C16-A2FF-C254E27A6615}" type="sibTrans" cxnId="{7BB8DB9A-99B6-453C-AA92-C3C9A5178C62}">
      <dgm:prSet/>
      <dgm:spPr/>
      <dgm:t>
        <a:bodyPr/>
        <a:lstStyle/>
        <a:p>
          <a:endParaRPr lang="it-IT"/>
        </a:p>
      </dgm:t>
    </dgm:pt>
    <dgm:pt modelId="{1C97B484-D592-434B-955F-0238DFAA925A}">
      <dgm:prSet phldrT="[Testo]"/>
      <dgm:spPr/>
      <dgm:t>
        <a:bodyPr/>
        <a:lstStyle/>
        <a:p>
          <a:r>
            <a:rPr lang="it-IT" dirty="0" smtClean="0"/>
            <a:t>ICT</a:t>
          </a:r>
          <a:endParaRPr lang="it-IT" dirty="0"/>
        </a:p>
      </dgm:t>
    </dgm:pt>
    <dgm:pt modelId="{084A2D3D-59DB-4A53-B4DB-369D548646BB}" type="parTrans" cxnId="{78D47852-4458-49D5-AC4D-6FFDD42A9D42}">
      <dgm:prSet/>
      <dgm:spPr/>
      <dgm:t>
        <a:bodyPr/>
        <a:lstStyle/>
        <a:p>
          <a:endParaRPr lang="it-IT"/>
        </a:p>
      </dgm:t>
    </dgm:pt>
    <dgm:pt modelId="{5F8ED8F5-61FB-4E9E-8D3B-64F5C0BD87FF}" type="sibTrans" cxnId="{78D47852-4458-49D5-AC4D-6FFDD42A9D42}">
      <dgm:prSet/>
      <dgm:spPr/>
      <dgm:t>
        <a:bodyPr/>
        <a:lstStyle/>
        <a:p>
          <a:endParaRPr lang="it-IT"/>
        </a:p>
      </dgm:t>
    </dgm:pt>
    <dgm:pt modelId="{88BD0557-199F-4C4D-9088-B630DF809B31}">
      <dgm:prSet phldrT="[Testo]"/>
      <dgm:spPr/>
      <dgm:t>
        <a:bodyPr/>
        <a:lstStyle/>
        <a:p>
          <a:r>
            <a:rPr lang="it-IT" dirty="0" smtClean="0"/>
            <a:t>Innovazione sociale</a:t>
          </a:r>
          <a:endParaRPr lang="it-IT" dirty="0"/>
        </a:p>
      </dgm:t>
    </dgm:pt>
    <dgm:pt modelId="{B2FAA026-9610-40B8-B07C-C4424E290CE7}" type="parTrans" cxnId="{631012E5-0F48-4C31-9834-0B0DC34C1F89}">
      <dgm:prSet/>
      <dgm:spPr/>
      <dgm:t>
        <a:bodyPr/>
        <a:lstStyle/>
        <a:p>
          <a:endParaRPr lang="it-IT"/>
        </a:p>
      </dgm:t>
    </dgm:pt>
    <dgm:pt modelId="{E1B5CD9D-5FC2-4D5F-ADA3-1101548FFF78}" type="sibTrans" cxnId="{631012E5-0F48-4C31-9834-0B0DC34C1F89}">
      <dgm:prSet/>
      <dgm:spPr/>
      <dgm:t>
        <a:bodyPr/>
        <a:lstStyle/>
        <a:p>
          <a:endParaRPr lang="it-IT"/>
        </a:p>
      </dgm:t>
    </dgm:pt>
    <dgm:pt modelId="{4AAD710B-73A7-40D0-BE45-F970671007FE}">
      <dgm:prSet phldrT="[Testo]"/>
      <dgm:spPr/>
      <dgm:t>
        <a:bodyPr/>
        <a:lstStyle/>
        <a:p>
          <a:r>
            <a:rPr lang="it-IT" dirty="0" smtClean="0"/>
            <a:t>Micro elettronica</a:t>
          </a:r>
          <a:endParaRPr lang="it-IT" dirty="0"/>
        </a:p>
      </dgm:t>
    </dgm:pt>
    <dgm:pt modelId="{4DE9D59B-4DE5-4044-B26D-1FEB59A44792}" type="parTrans" cxnId="{7A532FA1-B9A9-47E1-A04D-122ED612F025}">
      <dgm:prSet/>
      <dgm:spPr/>
      <dgm:t>
        <a:bodyPr/>
        <a:lstStyle/>
        <a:p>
          <a:endParaRPr lang="it-IT"/>
        </a:p>
      </dgm:t>
    </dgm:pt>
    <dgm:pt modelId="{09849086-A42A-488F-B9A2-5CBD4130A55E}" type="sibTrans" cxnId="{7A532FA1-B9A9-47E1-A04D-122ED612F025}">
      <dgm:prSet/>
      <dgm:spPr/>
      <dgm:t>
        <a:bodyPr/>
        <a:lstStyle/>
        <a:p>
          <a:endParaRPr lang="it-IT"/>
        </a:p>
      </dgm:t>
    </dgm:pt>
    <dgm:pt modelId="{689482D7-7DAA-4515-AD7B-9F3993164284}" type="pres">
      <dgm:prSet presAssocID="{4239B68A-E7D9-43EB-BAA7-51C73576A697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3434D6D-2122-4A51-877E-06D18981102B}" type="pres">
      <dgm:prSet presAssocID="{753D6FF9-76BD-4BDE-B1E8-B27436EA941F}" presName="node" presStyleLbl="node1" presStyleIdx="0" presStyleCnt="4" custScaleY="28924" custRadScaleRad="129263" custRadScaleInc="106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D83FF9-1CA1-4F89-AC4B-CE683910458D}" type="pres">
      <dgm:prSet presAssocID="{753D6FF9-76BD-4BDE-B1E8-B27436EA941F}" presName="spNode" presStyleCnt="0"/>
      <dgm:spPr/>
    </dgm:pt>
    <dgm:pt modelId="{B48349C0-DA42-45C1-A305-A31ACB3E56FA}" type="pres">
      <dgm:prSet presAssocID="{4F583956-5842-4C16-A2FF-C254E27A6615}" presName="sibTrans" presStyleLbl="sibTrans1D1" presStyleIdx="0" presStyleCnt="4"/>
      <dgm:spPr/>
      <dgm:t>
        <a:bodyPr/>
        <a:lstStyle/>
        <a:p>
          <a:endParaRPr lang="it-IT"/>
        </a:p>
      </dgm:t>
    </dgm:pt>
    <dgm:pt modelId="{6AC538DC-7B9C-4F13-B5F1-2B31B455CDEC}" type="pres">
      <dgm:prSet presAssocID="{1C97B484-D592-434B-955F-0238DFAA925A}" presName="node" presStyleLbl="node1" presStyleIdx="1" presStyleCnt="4" custScaleX="45363" custScaleY="56945" custRadScaleRad="173156" custRadScaleInc="-11710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64BDEC8-8531-4C4B-B0E2-47A247213CC0}" type="pres">
      <dgm:prSet presAssocID="{1C97B484-D592-434B-955F-0238DFAA925A}" presName="spNode" presStyleCnt="0"/>
      <dgm:spPr/>
    </dgm:pt>
    <dgm:pt modelId="{C398BA1F-BFAB-4EDA-A553-016DA6A23E7D}" type="pres">
      <dgm:prSet presAssocID="{5F8ED8F5-61FB-4E9E-8D3B-64F5C0BD87FF}" presName="sibTrans" presStyleLbl="sibTrans1D1" presStyleIdx="1" presStyleCnt="4"/>
      <dgm:spPr/>
      <dgm:t>
        <a:bodyPr/>
        <a:lstStyle/>
        <a:p>
          <a:endParaRPr lang="it-IT"/>
        </a:p>
      </dgm:t>
    </dgm:pt>
    <dgm:pt modelId="{4D6D01E9-C592-4F2E-AB82-072A02D0A479}" type="pres">
      <dgm:prSet presAssocID="{88BD0557-199F-4C4D-9088-B630DF809B31}" presName="node" presStyleLbl="node1" presStyleIdx="2" presStyleCnt="4" custScaleY="44456" custRadScaleRad="125265" custRadScaleInc="-10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1E9116D-C771-4573-AA29-3BFB9CD852EB}" type="pres">
      <dgm:prSet presAssocID="{88BD0557-199F-4C4D-9088-B630DF809B31}" presName="spNode" presStyleCnt="0"/>
      <dgm:spPr/>
    </dgm:pt>
    <dgm:pt modelId="{F7BAADD9-C75B-4898-B52D-48E4B788C62A}" type="pres">
      <dgm:prSet presAssocID="{E1B5CD9D-5FC2-4D5F-ADA3-1101548FFF78}" presName="sibTrans" presStyleLbl="sibTrans1D1" presStyleIdx="2" presStyleCnt="4"/>
      <dgm:spPr/>
      <dgm:t>
        <a:bodyPr/>
        <a:lstStyle/>
        <a:p>
          <a:endParaRPr lang="it-IT"/>
        </a:p>
      </dgm:t>
    </dgm:pt>
    <dgm:pt modelId="{7086B33B-544F-4FEE-A7F7-198130F517DF}" type="pres">
      <dgm:prSet presAssocID="{4AAD710B-73A7-40D0-BE45-F970671007FE}" presName="node" presStyleLbl="node1" presStyleIdx="3" presStyleCnt="4" custScaleX="51388" custRadScaleRad="164999" custRadScaleInc="-280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24447C4-B12D-4D00-AC95-AC1A1D8A80BC}" type="pres">
      <dgm:prSet presAssocID="{4AAD710B-73A7-40D0-BE45-F970671007FE}" presName="spNode" presStyleCnt="0"/>
      <dgm:spPr/>
    </dgm:pt>
    <dgm:pt modelId="{00526382-6092-453E-9B7B-82B351DD0AD1}" type="pres">
      <dgm:prSet presAssocID="{09849086-A42A-488F-B9A2-5CBD4130A55E}" presName="sibTrans" presStyleLbl="sibTrans1D1" presStyleIdx="3" presStyleCnt="4"/>
      <dgm:spPr/>
      <dgm:t>
        <a:bodyPr/>
        <a:lstStyle/>
        <a:p>
          <a:endParaRPr lang="it-IT"/>
        </a:p>
      </dgm:t>
    </dgm:pt>
  </dgm:ptLst>
  <dgm:cxnLst>
    <dgm:cxn modelId="{AF2E8BD0-42BA-4271-BEED-69541FEC7986}" type="presOf" srcId="{88BD0557-199F-4C4D-9088-B630DF809B31}" destId="{4D6D01E9-C592-4F2E-AB82-072A02D0A479}" srcOrd="0" destOrd="0" presId="urn:microsoft.com/office/officeart/2005/8/layout/cycle5"/>
    <dgm:cxn modelId="{A3AB0EE0-3E0E-4C46-8178-98952D5AAEBE}" type="presOf" srcId="{4AAD710B-73A7-40D0-BE45-F970671007FE}" destId="{7086B33B-544F-4FEE-A7F7-198130F517DF}" srcOrd="0" destOrd="0" presId="urn:microsoft.com/office/officeart/2005/8/layout/cycle5"/>
    <dgm:cxn modelId="{9A91FF99-2815-45A6-99BF-12A8AF0E899F}" type="presOf" srcId="{753D6FF9-76BD-4BDE-B1E8-B27436EA941F}" destId="{B3434D6D-2122-4A51-877E-06D18981102B}" srcOrd="0" destOrd="0" presId="urn:microsoft.com/office/officeart/2005/8/layout/cycle5"/>
    <dgm:cxn modelId="{60B0DEE6-8662-4DA7-98DA-55F02BFCFD5E}" type="presOf" srcId="{09849086-A42A-488F-B9A2-5CBD4130A55E}" destId="{00526382-6092-453E-9B7B-82B351DD0AD1}" srcOrd="0" destOrd="0" presId="urn:microsoft.com/office/officeart/2005/8/layout/cycle5"/>
    <dgm:cxn modelId="{968321A4-D521-40D9-87B3-C2D8057E5D32}" type="presOf" srcId="{5F8ED8F5-61FB-4E9E-8D3B-64F5C0BD87FF}" destId="{C398BA1F-BFAB-4EDA-A553-016DA6A23E7D}" srcOrd="0" destOrd="0" presId="urn:microsoft.com/office/officeart/2005/8/layout/cycle5"/>
    <dgm:cxn modelId="{631012E5-0F48-4C31-9834-0B0DC34C1F89}" srcId="{4239B68A-E7D9-43EB-BAA7-51C73576A697}" destId="{88BD0557-199F-4C4D-9088-B630DF809B31}" srcOrd="2" destOrd="0" parTransId="{B2FAA026-9610-40B8-B07C-C4424E290CE7}" sibTransId="{E1B5CD9D-5FC2-4D5F-ADA3-1101548FFF78}"/>
    <dgm:cxn modelId="{7A532FA1-B9A9-47E1-A04D-122ED612F025}" srcId="{4239B68A-E7D9-43EB-BAA7-51C73576A697}" destId="{4AAD710B-73A7-40D0-BE45-F970671007FE}" srcOrd="3" destOrd="0" parTransId="{4DE9D59B-4DE5-4044-B26D-1FEB59A44792}" sibTransId="{09849086-A42A-488F-B9A2-5CBD4130A55E}"/>
    <dgm:cxn modelId="{7BB8DB9A-99B6-453C-AA92-C3C9A5178C62}" srcId="{4239B68A-E7D9-43EB-BAA7-51C73576A697}" destId="{753D6FF9-76BD-4BDE-B1E8-B27436EA941F}" srcOrd="0" destOrd="0" parTransId="{4F8365F4-CA84-4B9A-AE88-7AD472ACAF3E}" sibTransId="{4F583956-5842-4C16-A2FF-C254E27A6615}"/>
    <dgm:cxn modelId="{912FA14D-0DB3-4DD2-A01D-ABD1A5856441}" type="presOf" srcId="{4F583956-5842-4C16-A2FF-C254E27A6615}" destId="{B48349C0-DA42-45C1-A305-A31ACB3E56FA}" srcOrd="0" destOrd="0" presId="urn:microsoft.com/office/officeart/2005/8/layout/cycle5"/>
    <dgm:cxn modelId="{78D47852-4458-49D5-AC4D-6FFDD42A9D42}" srcId="{4239B68A-E7D9-43EB-BAA7-51C73576A697}" destId="{1C97B484-D592-434B-955F-0238DFAA925A}" srcOrd="1" destOrd="0" parTransId="{084A2D3D-59DB-4A53-B4DB-369D548646BB}" sibTransId="{5F8ED8F5-61FB-4E9E-8D3B-64F5C0BD87FF}"/>
    <dgm:cxn modelId="{AA01DB69-0888-489A-AFF6-8F6DC90B62DD}" type="presOf" srcId="{E1B5CD9D-5FC2-4D5F-ADA3-1101548FFF78}" destId="{F7BAADD9-C75B-4898-B52D-48E4B788C62A}" srcOrd="0" destOrd="0" presId="urn:microsoft.com/office/officeart/2005/8/layout/cycle5"/>
    <dgm:cxn modelId="{1B652FC9-F15A-4E14-8700-30C86AA8E68C}" type="presOf" srcId="{4239B68A-E7D9-43EB-BAA7-51C73576A697}" destId="{689482D7-7DAA-4515-AD7B-9F3993164284}" srcOrd="0" destOrd="0" presId="urn:microsoft.com/office/officeart/2005/8/layout/cycle5"/>
    <dgm:cxn modelId="{E2DD2FF0-C113-4F75-BA20-C27EA2FE8C79}" type="presOf" srcId="{1C97B484-D592-434B-955F-0238DFAA925A}" destId="{6AC538DC-7B9C-4F13-B5F1-2B31B455CDEC}" srcOrd="0" destOrd="0" presId="urn:microsoft.com/office/officeart/2005/8/layout/cycle5"/>
    <dgm:cxn modelId="{91EB1456-2F35-4C5E-B71D-06C5394B3DC2}" type="presParOf" srcId="{689482D7-7DAA-4515-AD7B-9F3993164284}" destId="{B3434D6D-2122-4A51-877E-06D18981102B}" srcOrd="0" destOrd="0" presId="urn:microsoft.com/office/officeart/2005/8/layout/cycle5"/>
    <dgm:cxn modelId="{393F26D7-34A0-4A69-8BE6-ABA1BB04BAD8}" type="presParOf" srcId="{689482D7-7DAA-4515-AD7B-9F3993164284}" destId="{4CD83FF9-1CA1-4F89-AC4B-CE683910458D}" srcOrd="1" destOrd="0" presId="urn:microsoft.com/office/officeart/2005/8/layout/cycle5"/>
    <dgm:cxn modelId="{26EF891C-3D1C-4848-8EE1-5BAB43B481CF}" type="presParOf" srcId="{689482D7-7DAA-4515-AD7B-9F3993164284}" destId="{B48349C0-DA42-45C1-A305-A31ACB3E56FA}" srcOrd="2" destOrd="0" presId="urn:microsoft.com/office/officeart/2005/8/layout/cycle5"/>
    <dgm:cxn modelId="{5D76C924-EAF6-4967-9B81-D279A7C6244E}" type="presParOf" srcId="{689482D7-7DAA-4515-AD7B-9F3993164284}" destId="{6AC538DC-7B9C-4F13-B5F1-2B31B455CDEC}" srcOrd="3" destOrd="0" presId="urn:microsoft.com/office/officeart/2005/8/layout/cycle5"/>
    <dgm:cxn modelId="{B3FA6855-6501-48A0-9136-DD7228225192}" type="presParOf" srcId="{689482D7-7DAA-4515-AD7B-9F3993164284}" destId="{764BDEC8-8531-4C4B-B0E2-47A247213CC0}" srcOrd="4" destOrd="0" presId="urn:microsoft.com/office/officeart/2005/8/layout/cycle5"/>
    <dgm:cxn modelId="{FD215CF1-10E7-48C3-A5AF-26BF7321362A}" type="presParOf" srcId="{689482D7-7DAA-4515-AD7B-9F3993164284}" destId="{C398BA1F-BFAB-4EDA-A553-016DA6A23E7D}" srcOrd="5" destOrd="0" presId="urn:microsoft.com/office/officeart/2005/8/layout/cycle5"/>
    <dgm:cxn modelId="{8D23A290-4F33-4D6B-A42A-12F06F30668C}" type="presParOf" srcId="{689482D7-7DAA-4515-AD7B-9F3993164284}" destId="{4D6D01E9-C592-4F2E-AB82-072A02D0A479}" srcOrd="6" destOrd="0" presId="urn:microsoft.com/office/officeart/2005/8/layout/cycle5"/>
    <dgm:cxn modelId="{E23DC284-238D-42FE-93E1-8F9832383DD8}" type="presParOf" srcId="{689482D7-7DAA-4515-AD7B-9F3993164284}" destId="{01E9116D-C771-4573-AA29-3BFB9CD852EB}" srcOrd="7" destOrd="0" presId="urn:microsoft.com/office/officeart/2005/8/layout/cycle5"/>
    <dgm:cxn modelId="{A727B81E-B8D5-4FC3-8D12-450D22FB7701}" type="presParOf" srcId="{689482D7-7DAA-4515-AD7B-9F3993164284}" destId="{F7BAADD9-C75B-4898-B52D-48E4B788C62A}" srcOrd="8" destOrd="0" presId="urn:microsoft.com/office/officeart/2005/8/layout/cycle5"/>
    <dgm:cxn modelId="{BA987EC5-9245-4D59-A549-DB44988478C2}" type="presParOf" srcId="{689482D7-7DAA-4515-AD7B-9F3993164284}" destId="{7086B33B-544F-4FEE-A7F7-198130F517DF}" srcOrd="9" destOrd="0" presId="urn:microsoft.com/office/officeart/2005/8/layout/cycle5"/>
    <dgm:cxn modelId="{EFE2D156-A180-467B-9D1C-510C8CE53429}" type="presParOf" srcId="{689482D7-7DAA-4515-AD7B-9F3993164284}" destId="{724447C4-B12D-4D00-AC95-AC1A1D8A80BC}" srcOrd="10" destOrd="0" presId="urn:microsoft.com/office/officeart/2005/8/layout/cycle5"/>
    <dgm:cxn modelId="{9EF434D3-3D77-467A-A0F5-AFFE160D5398}" type="presParOf" srcId="{689482D7-7DAA-4515-AD7B-9F3993164284}" destId="{00526382-6092-453E-9B7B-82B351DD0AD1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Modalità di lavoro (3)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FE9CBD19-6AE1-4990-8ABD-D1A4F4E8C12B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7BA9D499-8190-4C6A-BE0E-3784BFFACF20}" type="presOf" srcId="{2BF37BE0-F1C9-4327-8D6B-194C8F2CF94F}" destId="{7D920113-6D83-4974-923F-4CAA40CA2FDB}" srcOrd="0" destOrd="0" presId="urn:microsoft.com/office/officeart/2008/layout/LinedList"/>
    <dgm:cxn modelId="{C06C40CF-F5D0-4B93-BEAC-036A18AEA0CC}" type="presParOf" srcId="{58FB0A67-F67A-40BA-890E-A840ED83B605}" destId="{AB26EC88-0333-42E8-B340-C2B4FE18384A}" srcOrd="0" destOrd="0" presId="urn:microsoft.com/office/officeart/2008/layout/LinedList"/>
    <dgm:cxn modelId="{DE42C8B5-0228-4960-8A47-F7CB10DF4BA0}" type="presParOf" srcId="{58FB0A67-F67A-40BA-890E-A840ED83B605}" destId="{45792684-4DE0-4EDD-B49A-A40AB3BD4B9E}" srcOrd="1" destOrd="0" presId="urn:microsoft.com/office/officeart/2008/layout/LinedList"/>
    <dgm:cxn modelId="{D599B334-1292-4186-94EC-95CE549B1EB3}" type="presParOf" srcId="{45792684-4DE0-4EDD-B49A-A40AB3BD4B9E}" destId="{7D920113-6D83-4974-923F-4CAA40CA2FDB}" srcOrd="0" destOrd="0" presId="urn:microsoft.com/office/officeart/2008/layout/LinedList"/>
    <dgm:cxn modelId="{33589FEE-9506-413B-8BDB-A9843F28908F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Le regole del confronto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Attenzione ai tempi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D446E03B-A085-4EAF-A9D7-21D9E631073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Comprendere come lavorare più che discutere del merito</a:t>
          </a:r>
          <a:endParaRPr lang="it-IT" sz="3600" b="0" dirty="0">
            <a:solidFill>
              <a:schemeClr val="accent1"/>
            </a:solidFill>
          </a:endParaRPr>
        </a:p>
      </dgm:t>
    </dgm:pt>
    <dgm:pt modelId="{44FDFF5D-A5FE-4F6B-89B8-1FCC632B967C}" type="parTrans" cxnId="{BB9A4BB3-9E3F-4768-AB03-3A5823740DAC}">
      <dgm:prSet/>
      <dgm:spPr/>
      <dgm:t>
        <a:bodyPr/>
        <a:lstStyle/>
        <a:p>
          <a:endParaRPr lang="it-IT"/>
        </a:p>
      </dgm:t>
    </dgm:pt>
    <dgm:pt modelId="{A44EEB28-BFA3-4413-89F9-8106007D5EF7}" type="sibTrans" cxnId="{BB9A4BB3-9E3F-4768-AB03-3A5823740DAC}">
      <dgm:prSet/>
      <dgm:spPr/>
      <dgm:t>
        <a:bodyPr/>
        <a:lstStyle/>
        <a:p>
          <a:endParaRPr lang="it-IT"/>
        </a:p>
      </dgm:t>
    </dgm:pt>
    <dgm:pt modelId="{E8668022-B4E6-4F7B-85CE-7DF06B5D0EF9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Non sovrapporsi</a:t>
          </a:r>
          <a:endParaRPr lang="it-IT" sz="3600" b="0" dirty="0">
            <a:solidFill>
              <a:schemeClr val="accent1"/>
            </a:solidFill>
          </a:endParaRPr>
        </a:p>
      </dgm:t>
    </dgm:pt>
    <dgm:pt modelId="{A639F380-D1ED-4F16-8273-CE710AF2722F}" type="parTrans" cxnId="{4F66322D-4FDF-40A2-A1A4-85106B7D7A69}">
      <dgm:prSet/>
      <dgm:spPr/>
      <dgm:t>
        <a:bodyPr/>
        <a:lstStyle/>
        <a:p>
          <a:endParaRPr lang="it-IT"/>
        </a:p>
      </dgm:t>
    </dgm:pt>
    <dgm:pt modelId="{40FDD981-82C7-442B-82DA-BB0875708F5C}" type="sibTrans" cxnId="{4F66322D-4FDF-40A2-A1A4-85106B7D7A69}">
      <dgm:prSet/>
      <dgm:spPr/>
      <dgm:t>
        <a:bodyPr/>
        <a:lstStyle/>
        <a:p>
          <a:endParaRPr lang="it-IT"/>
        </a:p>
      </dgm:t>
    </dgm:pt>
    <dgm:pt modelId="{67755247-ABB2-430C-86D0-520F5484A17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Non ripetersi</a:t>
          </a:r>
          <a:endParaRPr lang="it-IT" sz="3600" b="0" dirty="0">
            <a:solidFill>
              <a:schemeClr val="accent1"/>
            </a:solidFill>
          </a:endParaRPr>
        </a:p>
      </dgm:t>
    </dgm:pt>
    <dgm:pt modelId="{F0DE52B4-7B54-424F-BF46-2F68B78BEC45}" type="parTrans" cxnId="{7CBA6189-3D05-4562-9426-327B4B6D8B85}">
      <dgm:prSet/>
      <dgm:spPr/>
      <dgm:t>
        <a:bodyPr/>
        <a:lstStyle/>
        <a:p>
          <a:endParaRPr lang="it-IT"/>
        </a:p>
      </dgm:t>
    </dgm:pt>
    <dgm:pt modelId="{9A459189-03A5-4FD4-8CCB-3CBA045D52A5}" type="sibTrans" cxnId="{7CBA6189-3D05-4562-9426-327B4B6D8B85}">
      <dgm:prSet/>
      <dgm:spPr/>
      <dgm:t>
        <a:bodyPr/>
        <a:lstStyle/>
        <a:p>
          <a:endParaRPr lang="it-IT"/>
        </a:p>
      </dgm:t>
    </dgm:pt>
    <dgm:pt modelId="{2DAC4A08-F0EC-4141-95E1-0391DF513F7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Stare sul tema</a:t>
          </a:r>
          <a:endParaRPr lang="it-IT" sz="3600" b="0" dirty="0">
            <a:solidFill>
              <a:schemeClr val="accent1"/>
            </a:solidFill>
          </a:endParaRPr>
        </a:p>
      </dgm:t>
    </dgm:pt>
    <dgm:pt modelId="{A9695659-22B7-482D-BD64-EA1338119F99}" type="parTrans" cxnId="{D8D973D0-8A60-46F1-9010-AECD87605A11}">
      <dgm:prSet/>
      <dgm:spPr/>
      <dgm:t>
        <a:bodyPr/>
        <a:lstStyle/>
        <a:p>
          <a:endParaRPr lang="it-IT"/>
        </a:p>
      </dgm:t>
    </dgm:pt>
    <dgm:pt modelId="{15D2AB5A-6349-4135-A7E2-60885CE2D866}" type="sibTrans" cxnId="{D8D973D0-8A60-46F1-9010-AECD87605A11}">
      <dgm:prSet/>
      <dgm:spPr/>
      <dgm:t>
        <a:bodyPr/>
        <a:lstStyle/>
        <a:p>
          <a:endParaRPr lang="it-IT"/>
        </a:p>
      </dgm:t>
    </dgm:pt>
    <dgm:pt modelId="{074A061E-7550-4B1C-A8F0-C013B8C23025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Interventi operativi (escluse premesse)</a:t>
          </a:r>
          <a:endParaRPr lang="it-IT" sz="3600" b="0" dirty="0">
            <a:solidFill>
              <a:schemeClr val="accent1"/>
            </a:solidFill>
          </a:endParaRPr>
        </a:p>
      </dgm:t>
    </dgm:pt>
    <dgm:pt modelId="{FE88A37D-095A-4F77-B5B2-0272391C24A5}" type="parTrans" cxnId="{90B43B46-40BE-4C6A-8D18-E33CA9BF4820}">
      <dgm:prSet/>
      <dgm:spPr/>
      <dgm:t>
        <a:bodyPr/>
        <a:lstStyle/>
        <a:p>
          <a:endParaRPr lang="it-IT"/>
        </a:p>
      </dgm:t>
    </dgm:pt>
    <dgm:pt modelId="{498B8DC2-9EC5-47E6-BCD5-C4052AF11EC1}" type="sibTrans" cxnId="{90B43B46-40BE-4C6A-8D18-E33CA9BF4820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Y="125122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4883FF2-616F-46D6-B331-FD1733313DCE}" type="presOf" srcId="{67755247-ABB2-430C-86D0-520F5484A172}" destId="{19C3370D-7B6A-4F3C-8C78-C38DF1D2FA31}" srcOrd="0" destOrd="5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4F66322D-4FDF-40A2-A1A4-85106B7D7A69}" srcId="{F23A2E33-A7A9-4C0C-9E2D-FE9B09B27B0C}" destId="{E8668022-B4E6-4F7B-85CE-7DF06B5D0EF9}" srcOrd="4" destOrd="0" parTransId="{A639F380-D1ED-4F16-8273-CE710AF2722F}" sibTransId="{40FDD981-82C7-442B-82DA-BB0875708F5C}"/>
    <dgm:cxn modelId="{D8D973D0-8A60-46F1-9010-AECD87605A11}" srcId="{F23A2E33-A7A9-4C0C-9E2D-FE9B09B27B0C}" destId="{2DAC4A08-F0EC-4141-95E1-0391DF513F7A}" srcOrd="2" destOrd="0" parTransId="{A9695659-22B7-482D-BD64-EA1338119F99}" sibTransId="{15D2AB5A-6349-4135-A7E2-60885CE2D866}"/>
    <dgm:cxn modelId="{290D40CA-99FE-46AD-9DCA-9472FC9FDEE6}" type="presOf" srcId="{074A061E-7550-4B1C-A8F0-C013B8C23025}" destId="{19C3370D-7B6A-4F3C-8C78-C38DF1D2FA31}" srcOrd="0" destOrd="3" presId="urn:microsoft.com/office/officeart/2005/8/layout/vList5"/>
    <dgm:cxn modelId="{D4872C0D-92D9-484A-AB01-C898FE318ACE}" type="presOf" srcId="{D446E03B-A085-4EAF-A9D7-21D9E631073A}" destId="{19C3370D-7B6A-4F3C-8C78-C38DF1D2FA31}" srcOrd="0" destOrd="1" presId="urn:microsoft.com/office/officeart/2005/8/layout/vList5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5E383774-FF2F-4BC0-91BF-2083EA1AAA9B}" type="presOf" srcId="{F23A2E33-A7A9-4C0C-9E2D-FE9B09B27B0C}" destId="{4B75031E-EAE2-44AE-A204-79AAE3CD8BF2}" srcOrd="0" destOrd="0" presId="urn:microsoft.com/office/officeart/2005/8/layout/vList5"/>
    <dgm:cxn modelId="{29EC1CA7-430B-4DEA-A175-2587AFFC9DD2}" type="presOf" srcId="{FA935D20-D649-4F38-A41B-69E90530D632}" destId="{19C3370D-7B6A-4F3C-8C78-C38DF1D2FA31}" srcOrd="0" destOrd="0" presId="urn:microsoft.com/office/officeart/2005/8/layout/vList5"/>
    <dgm:cxn modelId="{90B43B46-40BE-4C6A-8D18-E33CA9BF4820}" srcId="{F23A2E33-A7A9-4C0C-9E2D-FE9B09B27B0C}" destId="{074A061E-7550-4B1C-A8F0-C013B8C23025}" srcOrd="3" destOrd="0" parTransId="{FE88A37D-095A-4F77-B5B2-0272391C24A5}" sibTransId="{498B8DC2-9EC5-47E6-BCD5-C4052AF11EC1}"/>
    <dgm:cxn modelId="{427DCC6B-5B89-4467-9926-829BAD9B7187}" type="presOf" srcId="{E8668022-B4E6-4F7B-85CE-7DF06B5D0EF9}" destId="{19C3370D-7B6A-4F3C-8C78-C38DF1D2FA31}" srcOrd="0" destOrd="4" presId="urn:microsoft.com/office/officeart/2005/8/layout/vList5"/>
    <dgm:cxn modelId="{7BCC434F-E091-4702-BF46-A2B8A6A6B527}" type="presOf" srcId="{BE3B8733-AE13-4A7B-A32B-B74DE4C528D7}" destId="{67CAF0F0-11C7-41D4-B458-17DD1ACC65D7}" srcOrd="0" destOrd="0" presId="urn:microsoft.com/office/officeart/2005/8/layout/vList5"/>
    <dgm:cxn modelId="{7CBA6189-3D05-4562-9426-327B4B6D8B85}" srcId="{F23A2E33-A7A9-4C0C-9E2D-FE9B09B27B0C}" destId="{67755247-ABB2-430C-86D0-520F5484A172}" srcOrd="5" destOrd="0" parTransId="{F0DE52B4-7B54-424F-BF46-2F68B78BEC45}" sibTransId="{9A459189-03A5-4FD4-8CCB-3CBA045D52A5}"/>
    <dgm:cxn modelId="{CD12B3C8-5751-4A20-9547-156871B299F9}" type="presOf" srcId="{2DAC4A08-F0EC-4141-95E1-0391DF513F7A}" destId="{19C3370D-7B6A-4F3C-8C78-C38DF1D2FA31}" srcOrd="0" destOrd="2" presId="urn:microsoft.com/office/officeart/2005/8/layout/vList5"/>
    <dgm:cxn modelId="{BB9A4BB3-9E3F-4768-AB03-3A5823740DAC}" srcId="{F23A2E33-A7A9-4C0C-9E2D-FE9B09B27B0C}" destId="{D446E03B-A085-4EAF-A9D7-21D9E631073A}" srcOrd="1" destOrd="0" parTransId="{44FDFF5D-A5FE-4F6B-89B8-1FCC632B967C}" sibTransId="{A44EEB28-BFA3-4413-89F9-8106007D5EF7}"/>
    <dgm:cxn modelId="{0A5A24A5-471F-4E20-A201-BFCDD9001B20}" type="presParOf" srcId="{67CAF0F0-11C7-41D4-B458-17DD1ACC65D7}" destId="{91EF4C2B-0965-4D66-A48D-ECB7ACAE5C2D}" srcOrd="0" destOrd="0" presId="urn:microsoft.com/office/officeart/2005/8/layout/vList5"/>
    <dgm:cxn modelId="{BA4B0218-FF49-4F4E-B6C8-AEB65F3B4774}" type="presParOf" srcId="{91EF4C2B-0965-4D66-A48D-ECB7ACAE5C2D}" destId="{4B75031E-EAE2-44AE-A204-79AAE3CD8BF2}" srcOrd="0" destOrd="0" presId="urn:microsoft.com/office/officeart/2005/8/layout/vList5"/>
    <dgm:cxn modelId="{769FF82D-FC12-4A02-AC5F-862195B11F68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Modalità di lavoro (4)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BD77044D-564D-44D1-8CBE-A96D38677F74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A6974B6-B345-4C7B-B032-8B3A95E939DF}" type="presOf" srcId="{2BF37BE0-F1C9-4327-8D6B-194C8F2CF94F}" destId="{7D920113-6D83-4974-923F-4CAA40CA2FDB}" srcOrd="0" destOrd="0" presId="urn:microsoft.com/office/officeart/2008/layout/LinedList"/>
    <dgm:cxn modelId="{3AEBB5E7-2954-43CC-AEF2-85B5014A22A0}" type="presParOf" srcId="{58FB0A67-F67A-40BA-890E-A840ED83B605}" destId="{AB26EC88-0333-42E8-B340-C2B4FE18384A}" srcOrd="0" destOrd="0" presId="urn:microsoft.com/office/officeart/2008/layout/LinedList"/>
    <dgm:cxn modelId="{7444ADB1-B6F2-43B0-B3AD-7953745CEB36}" type="presParOf" srcId="{58FB0A67-F67A-40BA-890E-A840ED83B605}" destId="{45792684-4DE0-4EDD-B49A-A40AB3BD4B9E}" srcOrd="1" destOrd="0" presId="urn:microsoft.com/office/officeart/2008/layout/LinedList"/>
    <dgm:cxn modelId="{E81DBD48-EF71-4AEB-ABFA-E9174B8C4CCB}" type="presParOf" srcId="{45792684-4DE0-4EDD-B49A-A40AB3BD4B9E}" destId="{7D920113-6D83-4974-923F-4CAA40CA2FDB}" srcOrd="0" destOrd="0" presId="urn:microsoft.com/office/officeart/2008/layout/LinedList"/>
    <dgm:cxn modelId="{5B01CACE-E972-470C-880C-2B0312B7CE6D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Il </a:t>
          </a:r>
          <a:r>
            <a:rPr lang="it-IT" sz="4400" b="1" dirty="0" err="1" smtClean="0"/>
            <a:t>contributorichiesto</a:t>
          </a:r>
          <a:r>
            <a:rPr lang="it-IT" sz="4400" b="1" dirty="0" smtClean="0"/>
            <a:t> deve essere....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centrato sulle indicazione dei potenziali ambiti di specializzazione rispetto al tavolo tematico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072475CA-39E6-44D8-A471-577AF76DB987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giustificato dalle evidenze, dalle scoperte imprenditoriali e dalle conoscenze possedute dagli attori </a:t>
          </a:r>
          <a:endParaRPr lang="it-IT" sz="3600" b="0" dirty="0">
            <a:solidFill>
              <a:schemeClr val="accent1"/>
            </a:solidFill>
          </a:endParaRPr>
        </a:p>
      </dgm:t>
    </dgm:pt>
    <dgm:pt modelId="{070F04A9-CFCA-417D-BF32-5D77678E5752}" type="parTrans" cxnId="{C6211E88-C192-41A1-AF7A-9C938B964870}">
      <dgm:prSet/>
      <dgm:spPr/>
      <dgm:t>
        <a:bodyPr/>
        <a:lstStyle/>
        <a:p>
          <a:endParaRPr lang="it-IT"/>
        </a:p>
      </dgm:t>
    </dgm:pt>
    <dgm:pt modelId="{1791BB8A-C1A4-4EF3-A97F-FD08B5B2C1B9}" type="sibTrans" cxnId="{C6211E88-C192-41A1-AF7A-9C938B964870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Y="125122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3E9FF39-AF52-42C9-943E-4A51521C4E58}" type="presOf" srcId="{BE3B8733-AE13-4A7B-A32B-B74DE4C528D7}" destId="{67CAF0F0-11C7-41D4-B458-17DD1ACC65D7}" srcOrd="0" destOrd="0" presId="urn:microsoft.com/office/officeart/2005/8/layout/vList5"/>
    <dgm:cxn modelId="{C6211E88-C192-41A1-AF7A-9C938B964870}" srcId="{F23A2E33-A7A9-4C0C-9E2D-FE9B09B27B0C}" destId="{072475CA-39E6-44D8-A471-577AF76DB987}" srcOrd="1" destOrd="0" parTransId="{070F04A9-CFCA-417D-BF32-5D77678E5752}" sibTransId="{1791BB8A-C1A4-4EF3-A97F-FD08B5B2C1B9}"/>
    <dgm:cxn modelId="{D57464AC-AC0C-4BD6-B7AC-F1F4189E379C}" type="presOf" srcId="{072475CA-39E6-44D8-A471-577AF76DB987}" destId="{19C3370D-7B6A-4F3C-8C78-C38DF1D2FA31}" srcOrd="0" destOrd="1" presId="urn:microsoft.com/office/officeart/2005/8/layout/vList5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7FE31DDF-01C1-481D-85E9-D368D740A154}" type="presOf" srcId="{FA935D20-D649-4F38-A41B-69E90530D632}" destId="{19C3370D-7B6A-4F3C-8C78-C38DF1D2FA31}" srcOrd="0" destOrd="0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C5DA6535-AD84-4156-8A1E-164C6D8B1CB5}" type="presOf" srcId="{F23A2E33-A7A9-4C0C-9E2D-FE9B09B27B0C}" destId="{4B75031E-EAE2-44AE-A204-79AAE3CD8BF2}" srcOrd="0" destOrd="0" presId="urn:microsoft.com/office/officeart/2005/8/layout/vList5"/>
    <dgm:cxn modelId="{A0304C48-95D4-4EF8-BFF1-EEF6D456E1BB}" type="presParOf" srcId="{67CAF0F0-11C7-41D4-B458-17DD1ACC65D7}" destId="{91EF4C2B-0965-4D66-A48D-ECB7ACAE5C2D}" srcOrd="0" destOrd="0" presId="urn:microsoft.com/office/officeart/2005/8/layout/vList5"/>
    <dgm:cxn modelId="{D84072E6-B278-4B4C-886C-E7F9C5A4069E}" type="presParOf" srcId="{91EF4C2B-0965-4D66-A48D-ECB7ACAE5C2D}" destId="{4B75031E-EAE2-44AE-A204-79AAE3CD8BF2}" srcOrd="0" destOrd="0" presId="urn:microsoft.com/office/officeart/2005/8/layout/vList5"/>
    <dgm:cxn modelId="{8267EAFA-896D-4E1B-8B71-90A1AD52A37D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2BF37BE0-F1C9-4327-8D6B-194C8F2CF94F}">
      <dgm:prSet/>
      <dgm:spPr/>
      <dgm:t>
        <a:bodyPr/>
        <a:lstStyle/>
        <a:p>
          <a:pPr rtl="0"/>
          <a:r>
            <a:rPr lang="it-IT" b="1" dirty="0" smtClean="0">
              <a:solidFill>
                <a:schemeClr val="accent1">
                  <a:lumMod val="75000"/>
                </a:schemeClr>
              </a:solidFill>
            </a:rPr>
            <a:t>Avvio Tavoli Tematici</a:t>
          </a:r>
          <a:endParaRPr lang="it-IT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BB67E27D-1178-40C3-AC28-8633B04DC5F6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A7FF969C-9243-4796-B7F1-AC7C09C5456E}" type="presOf" srcId="{2BF37BE0-F1C9-4327-8D6B-194C8F2CF94F}" destId="{7D920113-6D83-4974-923F-4CAA40CA2FDB}" srcOrd="0" destOrd="0" presId="urn:microsoft.com/office/officeart/2008/layout/LinedList"/>
    <dgm:cxn modelId="{A59F3E1E-DC26-49C3-96CD-B73C6A30FE52}" type="presParOf" srcId="{58FB0A67-F67A-40BA-890E-A840ED83B605}" destId="{AB26EC88-0333-42E8-B340-C2B4FE18384A}" srcOrd="0" destOrd="0" presId="urn:microsoft.com/office/officeart/2008/layout/LinedList"/>
    <dgm:cxn modelId="{7D7FB996-32D8-4602-99FE-CB92EEBC1A97}" type="presParOf" srcId="{58FB0A67-F67A-40BA-890E-A840ED83B605}" destId="{45792684-4DE0-4EDD-B49A-A40AB3BD4B9E}" srcOrd="1" destOrd="0" presId="urn:microsoft.com/office/officeart/2008/layout/LinedList"/>
    <dgm:cxn modelId="{F085C22D-642F-4475-A576-D7DBD584D737}" type="presParOf" srcId="{45792684-4DE0-4EDD-B49A-A40AB3BD4B9E}" destId="{7D920113-6D83-4974-923F-4CAA40CA2FDB}" srcOrd="0" destOrd="0" presId="urn:microsoft.com/office/officeart/2008/layout/LinedList"/>
    <dgm:cxn modelId="{BA11326F-E943-45B7-A60F-7C40B2040D5C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/>
      <dgm:spPr/>
      <dgm:t>
        <a:bodyPr/>
        <a:lstStyle/>
        <a:p>
          <a:pPr rtl="0"/>
          <a:r>
            <a:rPr lang="it-IT" b="1" dirty="0" smtClean="0">
              <a:solidFill>
                <a:schemeClr val="accent1">
                  <a:lumMod val="75000"/>
                </a:schemeClr>
              </a:solidFill>
            </a:rPr>
            <a:t>Ambiti di Specializzazione del Tavolo Tematico</a:t>
          </a:r>
          <a:endParaRPr lang="it-IT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E3D0EF37-95A7-4A5A-9206-E38EC69F1B59}" type="presOf" srcId="{2BF37BE0-F1C9-4327-8D6B-194C8F2CF94F}" destId="{7D920113-6D83-4974-923F-4CAA40CA2FDB}" srcOrd="0" destOrd="0" presId="urn:microsoft.com/office/officeart/2008/layout/LinedList"/>
    <dgm:cxn modelId="{A5986E20-3758-4F16-81DE-F44DF8867B41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87293FAC-6717-4037-9DEA-8CF9929BF53F}" type="presParOf" srcId="{58FB0A67-F67A-40BA-890E-A840ED83B605}" destId="{AB26EC88-0333-42E8-B340-C2B4FE18384A}" srcOrd="0" destOrd="0" presId="urn:microsoft.com/office/officeart/2008/layout/LinedList"/>
    <dgm:cxn modelId="{4E23D57D-9824-4BA8-9AFC-775C4EC945CA}" type="presParOf" srcId="{58FB0A67-F67A-40BA-890E-A840ED83B605}" destId="{45792684-4DE0-4EDD-B49A-A40AB3BD4B9E}" srcOrd="1" destOrd="0" presId="urn:microsoft.com/office/officeart/2008/layout/LinedList"/>
    <dgm:cxn modelId="{CAB1433F-EBDE-472C-8074-00735FB20919}" type="presParOf" srcId="{45792684-4DE0-4EDD-B49A-A40AB3BD4B9E}" destId="{7D920113-6D83-4974-923F-4CAA40CA2FDB}" srcOrd="0" destOrd="0" presId="urn:microsoft.com/office/officeart/2008/layout/LinedList"/>
    <dgm:cxn modelId="{EB4528EE-58E8-4CB2-9C29-8B3942DB95F9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6368E725-06F6-4EAD-9E0F-B66D4033C629}" type="doc">
      <dgm:prSet loTypeId="urn:microsoft.com/office/officeart/2005/8/layout/cycle8" loCatId="cycle" qsTypeId="urn:microsoft.com/office/officeart/2005/8/quickstyle/simple1#8" qsCatId="simple" csTypeId="urn:microsoft.com/office/officeart/2005/8/colors/accent6_1" csCatId="accent6" phldr="1"/>
      <dgm:spPr/>
    </dgm:pt>
    <dgm:pt modelId="{0C9909B0-C4D1-4673-8FE9-7FB1B3537D5F}">
      <dgm:prSet phldrT="[Testo]"/>
      <dgm:spPr/>
      <dgm:t>
        <a:bodyPr/>
        <a:lstStyle/>
        <a:p>
          <a:r>
            <a:rPr lang="it-IT" dirty="0" smtClean="0"/>
            <a:t>Primo progress</a:t>
          </a:r>
          <a:endParaRPr lang="it-IT" dirty="0"/>
        </a:p>
      </dgm:t>
    </dgm:pt>
    <dgm:pt modelId="{AD2FB2EF-CC11-422C-904C-430DED4E6E9E}" type="parTrans" cxnId="{D2A09C40-91F6-4B6C-A7B7-BDF212B78F01}">
      <dgm:prSet/>
      <dgm:spPr/>
      <dgm:t>
        <a:bodyPr/>
        <a:lstStyle/>
        <a:p>
          <a:endParaRPr lang="it-IT"/>
        </a:p>
      </dgm:t>
    </dgm:pt>
    <dgm:pt modelId="{2335EC0B-2C5E-40AC-8E84-BDE82BDB4B85}" type="sibTrans" cxnId="{D2A09C40-91F6-4B6C-A7B7-BDF212B78F01}">
      <dgm:prSet/>
      <dgm:spPr/>
      <dgm:t>
        <a:bodyPr/>
        <a:lstStyle/>
        <a:p>
          <a:endParaRPr lang="it-IT"/>
        </a:p>
      </dgm:t>
    </dgm:pt>
    <dgm:pt modelId="{C052A170-C5E2-46F5-AFD6-B9CAE75C92A2}">
      <dgm:prSet phldrT="[Testo]"/>
      <dgm:spPr/>
      <dgm:t>
        <a:bodyPr/>
        <a:lstStyle/>
        <a:p>
          <a:r>
            <a:rPr lang="it-IT" dirty="0" smtClean="0"/>
            <a:t>Secondo progress</a:t>
          </a:r>
          <a:endParaRPr lang="it-IT" dirty="0"/>
        </a:p>
      </dgm:t>
    </dgm:pt>
    <dgm:pt modelId="{C6F3C0F1-0242-4038-AFCB-C5A03B118BFA}" type="parTrans" cxnId="{1D8DB658-48EE-4C74-8266-7F397B268996}">
      <dgm:prSet/>
      <dgm:spPr/>
      <dgm:t>
        <a:bodyPr/>
        <a:lstStyle/>
        <a:p>
          <a:endParaRPr lang="it-IT"/>
        </a:p>
      </dgm:t>
    </dgm:pt>
    <dgm:pt modelId="{7B47B23C-536D-4D10-A1FC-69DC534B777E}" type="sibTrans" cxnId="{1D8DB658-48EE-4C74-8266-7F397B268996}">
      <dgm:prSet/>
      <dgm:spPr/>
      <dgm:t>
        <a:bodyPr/>
        <a:lstStyle/>
        <a:p>
          <a:endParaRPr lang="it-IT"/>
        </a:p>
      </dgm:t>
    </dgm:pt>
    <dgm:pt modelId="{B274D4BD-F86B-4929-8634-F6F23559CF48}" type="pres">
      <dgm:prSet presAssocID="{6368E725-06F6-4EAD-9E0F-B66D4033C629}" presName="compositeShape" presStyleCnt="0">
        <dgm:presLayoutVars>
          <dgm:chMax val="7"/>
          <dgm:dir/>
          <dgm:resizeHandles val="exact"/>
        </dgm:presLayoutVars>
      </dgm:prSet>
      <dgm:spPr/>
    </dgm:pt>
    <dgm:pt modelId="{722A1584-12A4-45C1-ACD7-958A7385C148}" type="pres">
      <dgm:prSet presAssocID="{6368E725-06F6-4EAD-9E0F-B66D4033C629}" presName="wedge1" presStyleLbl="node1" presStyleIdx="0" presStyleCnt="2"/>
      <dgm:spPr/>
      <dgm:t>
        <a:bodyPr/>
        <a:lstStyle/>
        <a:p>
          <a:endParaRPr lang="it-IT"/>
        </a:p>
      </dgm:t>
    </dgm:pt>
    <dgm:pt modelId="{3816EB57-8CB9-4243-883D-9495CA88C90A}" type="pres">
      <dgm:prSet presAssocID="{6368E725-06F6-4EAD-9E0F-B66D4033C629}" presName="dummy1a" presStyleCnt="0"/>
      <dgm:spPr/>
    </dgm:pt>
    <dgm:pt modelId="{E1E9E9C3-A608-4384-944F-7C480E88E4FF}" type="pres">
      <dgm:prSet presAssocID="{6368E725-06F6-4EAD-9E0F-B66D4033C629}" presName="dummy1b" presStyleCnt="0"/>
      <dgm:spPr/>
    </dgm:pt>
    <dgm:pt modelId="{3BCC67D8-283E-41D7-9E04-1D82D2FAC8D1}" type="pres">
      <dgm:prSet presAssocID="{6368E725-06F6-4EAD-9E0F-B66D4033C629}" presName="wedge1Tx" presStyleLbl="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11D987E-41D9-4858-92D0-BAC1D4352876}" type="pres">
      <dgm:prSet presAssocID="{6368E725-06F6-4EAD-9E0F-B66D4033C629}" presName="wedge2" presStyleLbl="node1" presStyleIdx="1" presStyleCnt="2"/>
      <dgm:spPr/>
      <dgm:t>
        <a:bodyPr/>
        <a:lstStyle/>
        <a:p>
          <a:endParaRPr lang="it-IT"/>
        </a:p>
      </dgm:t>
    </dgm:pt>
    <dgm:pt modelId="{DEB098EB-AE9B-451C-92E3-682CC1314882}" type="pres">
      <dgm:prSet presAssocID="{6368E725-06F6-4EAD-9E0F-B66D4033C629}" presName="dummy2a" presStyleCnt="0"/>
      <dgm:spPr/>
    </dgm:pt>
    <dgm:pt modelId="{E3A2AB01-BB81-4D50-ADDB-959D1112D5CE}" type="pres">
      <dgm:prSet presAssocID="{6368E725-06F6-4EAD-9E0F-B66D4033C629}" presName="dummy2b" presStyleCnt="0"/>
      <dgm:spPr/>
    </dgm:pt>
    <dgm:pt modelId="{F82E0761-BF61-4696-92A8-0EFB29262AFB}" type="pres">
      <dgm:prSet presAssocID="{6368E725-06F6-4EAD-9E0F-B66D4033C629}" presName="wedge2Tx" presStyleLbl="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91889A5-5D1D-4DA7-941E-C8B05D965E22}" type="pres">
      <dgm:prSet presAssocID="{2335EC0B-2C5E-40AC-8E84-BDE82BDB4B85}" presName="arrowWedge1" presStyleLbl="fgSibTrans2D1" presStyleIdx="0" presStyleCnt="2"/>
      <dgm:spPr/>
    </dgm:pt>
    <dgm:pt modelId="{8FA0F59F-4621-418C-96D7-0810ADA847CA}" type="pres">
      <dgm:prSet presAssocID="{7B47B23C-536D-4D10-A1FC-69DC534B777E}" presName="arrowWedge2" presStyleLbl="fgSibTrans2D1" presStyleIdx="1" presStyleCnt="2"/>
      <dgm:spPr>
        <a:solidFill>
          <a:schemeClr val="accent6">
            <a:lumMod val="75000"/>
          </a:schemeClr>
        </a:solidFill>
      </dgm:spPr>
    </dgm:pt>
  </dgm:ptLst>
  <dgm:cxnLst>
    <dgm:cxn modelId="{D2A09C40-91F6-4B6C-A7B7-BDF212B78F01}" srcId="{6368E725-06F6-4EAD-9E0F-B66D4033C629}" destId="{0C9909B0-C4D1-4673-8FE9-7FB1B3537D5F}" srcOrd="0" destOrd="0" parTransId="{AD2FB2EF-CC11-422C-904C-430DED4E6E9E}" sibTransId="{2335EC0B-2C5E-40AC-8E84-BDE82BDB4B85}"/>
    <dgm:cxn modelId="{1D8DB658-48EE-4C74-8266-7F397B268996}" srcId="{6368E725-06F6-4EAD-9E0F-B66D4033C629}" destId="{C052A170-C5E2-46F5-AFD6-B9CAE75C92A2}" srcOrd="1" destOrd="0" parTransId="{C6F3C0F1-0242-4038-AFCB-C5A03B118BFA}" sibTransId="{7B47B23C-536D-4D10-A1FC-69DC534B777E}"/>
    <dgm:cxn modelId="{DF2B0D4C-C8AF-48F4-8258-E239B4FC1EA8}" type="presOf" srcId="{C052A170-C5E2-46F5-AFD6-B9CAE75C92A2}" destId="{F82E0761-BF61-4696-92A8-0EFB29262AFB}" srcOrd="1" destOrd="0" presId="urn:microsoft.com/office/officeart/2005/8/layout/cycle8"/>
    <dgm:cxn modelId="{8E268057-4937-4B85-BCE9-DBC05052542C}" type="presOf" srcId="{C052A170-C5E2-46F5-AFD6-B9CAE75C92A2}" destId="{911D987E-41D9-4858-92D0-BAC1D4352876}" srcOrd="0" destOrd="0" presId="urn:microsoft.com/office/officeart/2005/8/layout/cycle8"/>
    <dgm:cxn modelId="{30E8B0AC-3555-4B94-A008-0FC2AD364122}" type="presOf" srcId="{0C9909B0-C4D1-4673-8FE9-7FB1B3537D5F}" destId="{3BCC67D8-283E-41D7-9E04-1D82D2FAC8D1}" srcOrd="1" destOrd="0" presId="urn:microsoft.com/office/officeart/2005/8/layout/cycle8"/>
    <dgm:cxn modelId="{EB23FED4-4100-4570-BE97-7A321C77EB5D}" type="presOf" srcId="{6368E725-06F6-4EAD-9E0F-B66D4033C629}" destId="{B274D4BD-F86B-4929-8634-F6F23559CF48}" srcOrd="0" destOrd="0" presId="urn:microsoft.com/office/officeart/2005/8/layout/cycle8"/>
    <dgm:cxn modelId="{844EBE07-BF86-4C1D-B715-C930C99BCD00}" type="presOf" srcId="{0C9909B0-C4D1-4673-8FE9-7FB1B3537D5F}" destId="{722A1584-12A4-45C1-ACD7-958A7385C148}" srcOrd="0" destOrd="0" presId="urn:microsoft.com/office/officeart/2005/8/layout/cycle8"/>
    <dgm:cxn modelId="{69789002-FB79-426B-A61C-F57F7BD793CC}" type="presParOf" srcId="{B274D4BD-F86B-4929-8634-F6F23559CF48}" destId="{722A1584-12A4-45C1-ACD7-958A7385C148}" srcOrd="0" destOrd="0" presId="urn:microsoft.com/office/officeart/2005/8/layout/cycle8"/>
    <dgm:cxn modelId="{B0EAC96B-D634-46EA-AAAF-14860BDD0468}" type="presParOf" srcId="{B274D4BD-F86B-4929-8634-F6F23559CF48}" destId="{3816EB57-8CB9-4243-883D-9495CA88C90A}" srcOrd="1" destOrd="0" presId="urn:microsoft.com/office/officeart/2005/8/layout/cycle8"/>
    <dgm:cxn modelId="{64FE4727-06EB-48F1-AB65-A5790A2AD21A}" type="presParOf" srcId="{B274D4BD-F86B-4929-8634-F6F23559CF48}" destId="{E1E9E9C3-A608-4384-944F-7C480E88E4FF}" srcOrd="2" destOrd="0" presId="urn:microsoft.com/office/officeart/2005/8/layout/cycle8"/>
    <dgm:cxn modelId="{61E87367-16F8-476B-9026-554A287EC5E3}" type="presParOf" srcId="{B274D4BD-F86B-4929-8634-F6F23559CF48}" destId="{3BCC67D8-283E-41D7-9E04-1D82D2FAC8D1}" srcOrd="3" destOrd="0" presId="urn:microsoft.com/office/officeart/2005/8/layout/cycle8"/>
    <dgm:cxn modelId="{45FB916E-966F-4A1F-97D1-96580E7D829F}" type="presParOf" srcId="{B274D4BD-F86B-4929-8634-F6F23559CF48}" destId="{911D987E-41D9-4858-92D0-BAC1D4352876}" srcOrd="4" destOrd="0" presId="urn:microsoft.com/office/officeart/2005/8/layout/cycle8"/>
    <dgm:cxn modelId="{FD500AC4-CA8F-4D91-B8A5-78E485A4CE84}" type="presParOf" srcId="{B274D4BD-F86B-4929-8634-F6F23559CF48}" destId="{DEB098EB-AE9B-451C-92E3-682CC1314882}" srcOrd="5" destOrd="0" presId="urn:microsoft.com/office/officeart/2005/8/layout/cycle8"/>
    <dgm:cxn modelId="{08FCCA6E-B0E4-441A-945F-4D0F781DACCD}" type="presParOf" srcId="{B274D4BD-F86B-4929-8634-F6F23559CF48}" destId="{E3A2AB01-BB81-4D50-ADDB-959D1112D5CE}" srcOrd="6" destOrd="0" presId="urn:microsoft.com/office/officeart/2005/8/layout/cycle8"/>
    <dgm:cxn modelId="{0508582D-56E5-4AE3-98E6-FE2A79C8637A}" type="presParOf" srcId="{B274D4BD-F86B-4929-8634-F6F23559CF48}" destId="{F82E0761-BF61-4696-92A8-0EFB29262AFB}" srcOrd="7" destOrd="0" presId="urn:microsoft.com/office/officeart/2005/8/layout/cycle8"/>
    <dgm:cxn modelId="{7CFED73F-2520-4EFC-A4E2-DAAA4C13658D}" type="presParOf" srcId="{B274D4BD-F86B-4929-8634-F6F23559CF48}" destId="{091889A5-5D1D-4DA7-941E-C8B05D965E22}" srcOrd="8" destOrd="0" presId="urn:microsoft.com/office/officeart/2005/8/layout/cycle8"/>
    <dgm:cxn modelId="{84076234-E74E-4008-BE70-210D8F14548C}" type="presParOf" srcId="{B274D4BD-F86B-4929-8634-F6F23559CF48}" destId="{8FA0F59F-4621-418C-96D7-0810ADA847CA}" srcOrd="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2000" b="1" dirty="0" smtClean="0"/>
            <a:t>TAVOLO ECONOMIA DEL MARE</a:t>
          </a:r>
          <a:endParaRPr lang="it-IT" sz="20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 sz="2000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 sz="2000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Referenti </a:t>
          </a:r>
          <a:r>
            <a:rPr lang="it-IT" sz="2000" b="0" dirty="0" err="1" smtClean="0">
              <a:solidFill>
                <a:schemeClr val="accent1"/>
              </a:solidFill>
            </a:rPr>
            <a:t>GdL</a:t>
          </a:r>
          <a:r>
            <a:rPr lang="it-IT" sz="2000" b="0" dirty="0" smtClean="0">
              <a:solidFill>
                <a:schemeClr val="accent1"/>
              </a:solidFill>
            </a:rPr>
            <a:t> </a:t>
          </a:r>
          <a:r>
            <a:rPr lang="it-IT" sz="2000" b="0" dirty="0" err="1" smtClean="0">
              <a:solidFill>
                <a:schemeClr val="accent1"/>
              </a:solidFill>
            </a:rPr>
            <a:t>interdiscipinare</a:t>
          </a:r>
          <a:endParaRPr lang="it-IT" sz="20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 sz="2000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 sz="2000"/>
        </a:p>
      </dgm:t>
    </dgm:pt>
    <dgm:pt modelId="{89F07F7C-8BA3-46F7-A28D-8A6C31313FEE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Esperti nazionali </a:t>
          </a:r>
          <a:r>
            <a:rPr lang="it-IT" sz="2000" b="0" dirty="0" err="1" smtClean="0">
              <a:solidFill>
                <a:schemeClr val="accent1"/>
              </a:solidFill>
            </a:rPr>
            <a:t>MiSE</a:t>
          </a:r>
          <a:r>
            <a:rPr lang="it-IT" sz="2000" b="0" dirty="0" smtClean="0">
              <a:solidFill>
                <a:schemeClr val="accent1"/>
              </a:solidFill>
            </a:rPr>
            <a:t> - MIUR</a:t>
          </a:r>
          <a:endParaRPr lang="it-IT" sz="2000" b="0" dirty="0">
            <a:solidFill>
              <a:schemeClr val="accent1"/>
            </a:solidFill>
          </a:endParaRPr>
        </a:p>
      </dgm:t>
    </dgm:pt>
    <dgm:pt modelId="{331569E9-EE59-498E-9B5F-54872AAB6155}" type="parTrans" cxnId="{1DB134B3-7029-4867-8530-044DDD05C6A7}">
      <dgm:prSet/>
      <dgm:spPr/>
      <dgm:t>
        <a:bodyPr/>
        <a:lstStyle/>
        <a:p>
          <a:endParaRPr lang="it-IT" sz="2000"/>
        </a:p>
      </dgm:t>
    </dgm:pt>
    <dgm:pt modelId="{D5429856-796F-4F08-B731-87F79A2D3D0C}" type="sibTrans" cxnId="{1DB134B3-7029-4867-8530-044DDD05C6A7}">
      <dgm:prSet/>
      <dgm:spPr/>
      <dgm:t>
        <a:bodyPr/>
        <a:lstStyle/>
        <a:p>
          <a:endParaRPr lang="it-IT" sz="2000"/>
        </a:p>
      </dgm:t>
    </dgm:pt>
    <dgm:pt modelId="{8BB6A080-A949-4D1C-B030-163CE8EC11BC}">
      <dgm:prSet phldrT="[Testo]" custT="1"/>
      <dgm:spPr/>
      <dgm:t>
        <a:bodyPr/>
        <a:lstStyle/>
        <a:p>
          <a:r>
            <a:rPr lang="it-IT" sz="2000" b="0" dirty="0" smtClean="0">
              <a:solidFill>
                <a:srgbClr val="FF0000"/>
              </a:solidFill>
            </a:rPr>
            <a:t>Attori del territorio portatori di conoscenze e competenze che hanno inviato il modulo di adesione  </a:t>
          </a:r>
          <a:endParaRPr lang="it-IT" sz="2000" b="0" dirty="0">
            <a:solidFill>
              <a:srgbClr val="FF0000"/>
            </a:solidFill>
          </a:endParaRPr>
        </a:p>
      </dgm:t>
    </dgm:pt>
    <dgm:pt modelId="{B7D68DE0-F979-4024-9E91-C355F70A818F}" type="parTrans" cxnId="{46B7F6E8-B65C-483A-96AC-86247C4F21DA}">
      <dgm:prSet/>
      <dgm:spPr/>
      <dgm:t>
        <a:bodyPr/>
        <a:lstStyle/>
        <a:p>
          <a:endParaRPr lang="it-IT" sz="2000"/>
        </a:p>
      </dgm:t>
    </dgm:pt>
    <dgm:pt modelId="{94EAB1A3-E966-4F06-B413-5526B2035841}" type="sibTrans" cxnId="{46B7F6E8-B65C-483A-96AC-86247C4F21DA}">
      <dgm:prSet/>
      <dgm:spPr/>
      <dgm:t>
        <a:bodyPr/>
        <a:lstStyle/>
        <a:p>
          <a:endParaRPr lang="it-IT" sz="2000"/>
        </a:p>
      </dgm:t>
    </dgm:pt>
    <dgm:pt modelId="{EC43B956-372B-403A-9F15-9A51E24CCC08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Facilitatori</a:t>
          </a:r>
          <a:endParaRPr lang="it-IT" sz="2000" b="0" dirty="0">
            <a:solidFill>
              <a:schemeClr val="accent1"/>
            </a:solidFill>
          </a:endParaRPr>
        </a:p>
      </dgm:t>
    </dgm:pt>
    <dgm:pt modelId="{2C35DA52-C47F-49FF-8381-3D2B976F0974}" type="parTrans" cxnId="{123893C6-D1CF-4A3E-B249-8BE8CB6E8A60}">
      <dgm:prSet/>
      <dgm:spPr/>
      <dgm:t>
        <a:bodyPr/>
        <a:lstStyle/>
        <a:p>
          <a:endParaRPr lang="it-IT" sz="2000"/>
        </a:p>
      </dgm:t>
    </dgm:pt>
    <dgm:pt modelId="{2CD06480-FAED-4496-AC35-B7DBAAF42A19}" type="sibTrans" cxnId="{123893C6-D1CF-4A3E-B249-8BE8CB6E8A60}">
      <dgm:prSet/>
      <dgm:spPr/>
      <dgm:t>
        <a:bodyPr/>
        <a:lstStyle/>
        <a:p>
          <a:endParaRPr lang="it-IT" sz="2000"/>
        </a:p>
      </dgm:t>
    </dgm:pt>
    <dgm:pt modelId="{C626F9B2-0463-47D3-BA52-A872326A8ACE}">
      <dgm:prSet phldrT="[Testo]" custT="1"/>
      <dgm:spPr/>
      <dgm:t>
        <a:bodyPr/>
        <a:lstStyle/>
        <a:p>
          <a:r>
            <a:rPr lang="it-IT" sz="2000" b="0" dirty="0" smtClean="0">
              <a:solidFill>
                <a:schemeClr val="accent1"/>
              </a:solidFill>
            </a:rPr>
            <a:t>Referenti Dipartimenti regionali</a:t>
          </a:r>
          <a:endParaRPr lang="it-IT" sz="2000" b="0" dirty="0">
            <a:solidFill>
              <a:schemeClr val="accent1"/>
            </a:solidFill>
          </a:endParaRPr>
        </a:p>
      </dgm:t>
    </dgm:pt>
    <dgm:pt modelId="{621246B2-0F72-43CC-BBBD-4861827B02CA}" type="parTrans" cxnId="{926D403E-A820-4B35-8474-CECEDBE1FE93}">
      <dgm:prSet/>
      <dgm:spPr/>
      <dgm:t>
        <a:bodyPr/>
        <a:lstStyle/>
        <a:p>
          <a:endParaRPr lang="it-IT" sz="2000"/>
        </a:p>
      </dgm:t>
    </dgm:pt>
    <dgm:pt modelId="{2AB5A212-C1F2-4108-95E6-F5AF0A6EE3EB}" type="sibTrans" cxnId="{926D403E-A820-4B35-8474-CECEDBE1FE93}">
      <dgm:prSet/>
      <dgm:spPr/>
      <dgm:t>
        <a:bodyPr/>
        <a:lstStyle/>
        <a:p>
          <a:endParaRPr lang="it-IT" sz="2000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ScaleX="106033" custLinFactNeighborX="-689" custLinFactNeighborY="2564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ScaleX="124766" custScaleY="122865" custLinFactNeighborX="3125" custLinFactNeighborY="534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9BD29A18-F728-4C2C-9CC4-F60292A61A63}" type="presOf" srcId="{8BB6A080-A949-4D1C-B030-163CE8EC11BC}" destId="{19C3370D-7B6A-4F3C-8C78-C38DF1D2FA31}" srcOrd="0" destOrd="4" presId="urn:microsoft.com/office/officeart/2005/8/layout/vList5"/>
    <dgm:cxn modelId="{056C9787-7244-4955-9DA4-CC278E328390}" type="presOf" srcId="{FA935D20-D649-4F38-A41B-69E90530D632}" destId="{19C3370D-7B6A-4F3C-8C78-C38DF1D2FA31}" srcOrd="0" destOrd="0" presId="urn:microsoft.com/office/officeart/2005/8/layout/vList5"/>
    <dgm:cxn modelId="{7C780694-8F08-4517-B38B-BB026D21E6A0}" type="presOf" srcId="{EC43B956-372B-403A-9F15-9A51E24CCC08}" destId="{19C3370D-7B6A-4F3C-8C78-C38DF1D2FA31}" srcOrd="0" destOrd="3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926D403E-A820-4B35-8474-CECEDBE1FE93}" srcId="{F23A2E33-A7A9-4C0C-9E2D-FE9B09B27B0C}" destId="{C626F9B2-0463-47D3-BA52-A872326A8ACE}" srcOrd="1" destOrd="0" parTransId="{621246B2-0F72-43CC-BBBD-4861827B02CA}" sibTransId="{2AB5A212-C1F2-4108-95E6-F5AF0A6EE3EB}"/>
    <dgm:cxn modelId="{33F031A9-0623-4135-907D-955BB9C92529}" type="presOf" srcId="{F23A2E33-A7A9-4C0C-9E2D-FE9B09B27B0C}" destId="{4B75031E-EAE2-44AE-A204-79AAE3CD8BF2}" srcOrd="0" destOrd="0" presId="urn:microsoft.com/office/officeart/2005/8/layout/vList5"/>
    <dgm:cxn modelId="{54A2619D-BCA8-4744-B9D2-160B796140EB}" type="presOf" srcId="{BE3B8733-AE13-4A7B-A32B-B74DE4C528D7}" destId="{67CAF0F0-11C7-41D4-B458-17DD1ACC65D7}" srcOrd="0" destOrd="0" presId="urn:microsoft.com/office/officeart/2005/8/layout/vList5"/>
    <dgm:cxn modelId="{123893C6-D1CF-4A3E-B249-8BE8CB6E8A60}" srcId="{F23A2E33-A7A9-4C0C-9E2D-FE9B09B27B0C}" destId="{EC43B956-372B-403A-9F15-9A51E24CCC08}" srcOrd="3" destOrd="0" parTransId="{2C35DA52-C47F-49FF-8381-3D2B976F0974}" sibTransId="{2CD06480-FAED-4496-AC35-B7DBAAF42A19}"/>
    <dgm:cxn modelId="{E858600B-E17F-407B-BEA7-78FD027C9808}" type="presOf" srcId="{89F07F7C-8BA3-46F7-A28D-8A6C31313FEE}" destId="{19C3370D-7B6A-4F3C-8C78-C38DF1D2FA31}" srcOrd="0" destOrd="2" presId="urn:microsoft.com/office/officeart/2005/8/layout/vList5"/>
    <dgm:cxn modelId="{1DB134B3-7029-4867-8530-044DDD05C6A7}" srcId="{F23A2E33-A7A9-4C0C-9E2D-FE9B09B27B0C}" destId="{89F07F7C-8BA3-46F7-A28D-8A6C31313FEE}" srcOrd="2" destOrd="0" parTransId="{331569E9-EE59-498E-9B5F-54872AAB6155}" sibTransId="{D5429856-796F-4F08-B731-87F79A2D3D0C}"/>
    <dgm:cxn modelId="{A69AA22A-C657-41F5-B6D3-310D8E31CCBF}" type="presOf" srcId="{C626F9B2-0463-47D3-BA52-A872326A8ACE}" destId="{19C3370D-7B6A-4F3C-8C78-C38DF1D2FA31}" srcOrd="0" destOrd="1" presId="urn:microsoft.com/office/officeart/2005/8/layout/vList5"/>
    <dgm:cxn modelId="{46B7F6E8-B65C-483A-96AC-86247C4F21DA}" srcId="{F23A2E33-A7A9-4C0C-9E2D-FE9B09B27B0C}" destId="{8BB6A080-A949-4D1C-B030-163CE8EC11BC}" srcOrd="4" destOrd="0" parTransId="{B7D68DE0-F979-4024-9E91-C355F70A818F}" sibTransId="{94EAB1A3-E966-4F06-B413-5526B2035841}"/>
    <dgm:cxn modelId="{331481D6-D7AB-464C-88F0-512B0430D12B}" type="presParOf" srcId="{67CAF0F0-11C7-41D4-B458-17DD1ACC65D7}" destId="{91EF4C2B-0965-4D66-A48D-ECB7ACAE5C2D}" srcOrd="0" destOrd="0" presId="urn:microsoft.com/office/officeart/2005/8/layout/vList5"/>
    <dgm:cxn modelId="{01B43384-4691-4533-AB06-478D21FA2915}" type="presParOf" srcId="{91EF4C2B-0965-4D66-A48D-ECB7ACAE5C2D}" destId="{4B75031E-EAE2-44AE-A204-79AAE3CD8BF2}" srcOrd="0" destOrd="0" presId="urn:microsoft.com/office/officeart/2005/8/layout/vList5"/>
    <dgm:cxn modelId="{A40DD348-7CCA-4646-8A31-3C1CE1DC95FE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D4F1EAED-12F8-4C94-9DF2-1077F7D30BBE}" type="doc">
      <dgm:prSet loTypeId="urn:microsoft.com/office/officeart/2005/8/layout/pList2#1" loCatId="list" qsTypeId="urn:microsoft.com/office/officeart/2005/8/quickstyle/simple1#9" qsCatId="simple" csTypeId="urn:microsoft.com/office/officeart/2005/8/colors/colorful1#6" csCatId="colorful" phldr="1"/>
      <dgm:spPr/>
      <dgm:t>
        <a:bodyPr/>
        <a:lstStyle/>
        <a:p>
          <a:endParaRPr lang="it-IT"/>
        </a:p>
      </dgm:t>
    </dgm:pt>
    <dgm:pt modelId="{30F7430D-D893-41AA-AF7B-1C87C7A886D4}">
      <dgm:prSet/>
      <dgm:spPr/>
      <dgm:t>
        <a:bodyPr/>
        <a:lstStyle/>
        <a:p>
          <a:pPr rtl="0"/>
          <a:r>
            <a:rPr lang="it-IT" b="1" dirty="0" smtClean="0"/>
            <a:t>TIME LINE RICERCA ED ANALISI </a:t>
          </a:r>
          <a:endParaRPr lang="it-IT" b="1" dirty="0"/>
        </a:p>
      </dgm:t>
    </dgm:pt>
    <dgm:pt modelId="{DB29567A-9372-40EE-B198-CE2B06F793B1}" type="parTrans" cxnId="{0B649771-3FF5-44EE-9D0A-38BD13D96BFD}">
      <dgm:prSet/>
      <dgm:spPr/>
      <dgm:t>
        <a:bodyPr/>
        <a:lstStyle/>
        <a:p>
          <a:endParaRPr lang="it-IT"/>
        </a:p>
      </dgm:t>
    </dgm:pt>
    <dgm:pt modelId="{C4A87172-E5F1-4E8B-B227-4CB5521E3509}" type="sibTrans" cxnId="{0B649771-3FF5-44EE-9D0A-38BD13D96BFD}">
      <dgm:prSet/>
      <dgm:spPr/>
      <dgm:t>
        <a:bodyPr/>
        <a:lstStyle/>
        <a:p>
          <a:endParaRPr lang="it-IT"/>
        </a:p>
      </dgm:t>
    </dgm:pt>
    <dgm:pt modelId="{2463FFA6-33B0-462C-9A44-8450B0E48458}" type="pres">
      <dgm:prSet presAssocID="{D4F1EAED-12F8-4C94-9DF2-1077F7D30BB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393C6C5-800F-4AD0-9287-91F0CE3F8018}" type="pres">
      <dgm:prSet presAssocID="{D4F1EAED-12F8-4C94-9DF2-1077F7D30BBE}" presName="bkgdShp" presStyleLbl="alignAccFollowNode1" presStyleIdx="0" presStyleCnt="1"/>
      <dgm:spPr/>
    </dgm:pt>
    <dgm:pt modelId="{74C4F42C-359C-44EB-A001-40CADA2F449F}" type="pres">
      <dgm:prSet presAssocID="{D4F1EAED-12F8-4C94-9DF2-1077F7D30BBE}" presName="linComp" presStyleCnt="0"/>
      <dgm:spPr/>
    </dgm:pt>
    <dgm:pt modelId="{3E5E4DD6-A7F8-43B6-BB96-A23D2A6941E2}" type="pres">
      <dgm:prSet presAssocID="{30F7430D-D893-41AA-AF7B-1C87C7A886D4}" presName="compNode" presStyleCnt="0"/>
      <dgm:spPr/>
    </dgm:pt>
    <dgm:pt modelId="{B67DCA96-203E-4FCF-BFE0-43C97B4D268A}" type="pres">
      <dgm:prSet presAssocID="{30F7430D-D893-41AA-AF7B-1C87C7A886D4}" presName="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028E46A-8ABF-46C6-A83F-C574172843C0}" type="pres">
      <dgm:prSet presAssocID="{30F7430D-D893-41AA-AF7B-1C87C7A886D4}" presName="invisiNode" presStyleLbl="node1" presStyleIdx="0" presStyleCnt="1"/>
      <dgm:spPr/>
    </dgm:pt>
    <dgm:pt modelId="{ED743BFD-89FA-49AE-B8B8-5B451728DC2D}" type="pres">
      <dgm:prSet presAssocID="{30F7430D-D893-41AA-AF7B-1C87C7A886D4}" presName="imagNode" presStyleLbl="fgImgPlace1" presStyleIdx="0" presStyleCnt="1"/>
      <dgm:spPr/>
    </dgm:pt>
  </dgm:ptLst>
  <dgm:cxnLst>
    <dgm:cxn modelId="{65BDC6F1-3A6C-4001-BB23-169552539D62}" type="presOf" srcId="{D4F1EAED-12F8-4C94-9DF2-1077F7D30BBE}" destId="{2463FFA6-33B0-462C-9A44-8450B0E48458}" srcOrd="0" destOrd="0" presId="urn:microsoft.com/office/officeart/2005/8/layout/pList2#1"/>
    <dgm:cxn modelId="{ECE7ADFA-4218-4281-8FDC-2FCA6D86C303}" type="presOf" srcId="{30F7430D-D893-41AA-AF7B-1C87C7A886D4}" destId="{B67DCA96-203E-4FCF-BFE0-43C97B4D268A}" srcOrd="0" destOrd="0" presId="urn:microsoft.com/office/officeart/2005/8/layout/pList2#1"/>
    <dgm:cxn modelId="{0B649771-3FF5-44EE-9D0A-38BD13D96BFD}" srcId="{D4F1EAED-12F8-4C94-9DF2-1077F7D30BBE}" destId="{30F7430D-D893-41AA-AF7B-1C87C7A886D4}" srcOrd="0" destOrd="0" parTransId="{DB29567A-9372-40EE-B198-CE2B06F793B1}" sibTransId="{C4A87172-E5F1-4E8B-B227-4CB5521E3509}"/>
    <dgm:cxn modelId="{055ABF89-CE23-454B-A2EA-8466718A4F1D}" type="presParOf" srcId="{2463FFA6-33B0-462C-9A44-8450B0E48458}" destId="{4393C6C5-800F-4AD0-9287-91F0CE3F8018}" srcOrd="0" destOrd="0" presId="urn:microsoft.com/office/officeart/2005/8/layout/pList2#1"/>
    <dgm:cxn modelId="{F785D069-9A74-40C4-8468-F2926F6F222A}" type="presParOf" srcId="{2463FFA6-33B0-462C-9A44-8450B0E48458}" destId="{74C4F42C-359C-44EB-A001-40CADA2F449F}" srcOrd="1" destOrd="0" presId="urn:microsoft.com/office/officeart/2005/8/layout/pList2#1"/>
    <dgm:cxn modelId="{10FBC222-3325-4E1B-B5CC-56CFF53BDCC5}" type="presParOf" srcId="{74C4F42C-359C-44EB-A001-40CADA2F449F}" destId="{3E5E4DD6-A7F8-43B6-BB96-A23D2A6941E2}" srcOrd="0" destOrd="0" presId="urn:microsoft.com/office/officeart/2005/8/layout/pList2#1"/>
    <dgm:cxn modelId="{045A9704-7DF0-428F-81F1-5F8CBAAD403F}" type="presParOf" srcId="{3E5E4DD6-A7F8-43B6-BB96-A23D2A6941E2}" destId="{B67DCA96-203E-4FCF-BFE0-43C97B4D268A}" srcOrd="0" destOrd="0" presId="urn:microsoft.com/office/officeart/2005/8/layout/pList2#1"/>
    <dgm:cxn modelId="{9F05C067-6C12-4ACE-8116-BF22D3FC06A5}" type="presParOf" srcId="{3E5E4DD6-A7F8-43B6-BB96-A23D2A6941E2}" destId="{5028E46A-8ABF-46C6-A83F-C574172843C0}" srcOrd="1" destOrd="0" presId="urn:microsoft.com/office/officeart/2005/8/layout/pList2#1"/>
    <dgm:cxn modelId="{F7FBD42A-9ED2-4C2A-AF68-E8D20D1D8F09}" type="presParOf" srcId="{3E5E4DD6-A7F8-43B6-BB96-A23D2A6941E2}" destId="{ED743BFD-89FA-49AE-B8B8-5B451728DC2D}" srcOrd="2" destOrd="0" presId="urn:microsoft.com/office/officeart/2005/8/layout/pList2#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D4F1EAED-12F8-4C94-9DF2-1077F7D30BBE}" type="doc">
      <dgm:prSet loTypeId="urn:microsoft.com/office/officeart/2005/8/layout/pList2#2" loCatId="list" qsTypeId="urn:microsoft.com/office/officeart/2005/8/quickstyle/simple1#10" qsCatId="simple" csTypeId="urn:microsoft.com/office/officeart/2005/8/colors/colorful1#7" csCatId="colorful" phldr="1"/>
      <dgm:spPr/>
      <dgm:t>
        <a:bodyPr/>
        <a:lstStyle/>
        <a:p>
          <a:endParaRPr lang="it-IT"/>
        </a:p>
      </dgm:t>
    </dgm:pt>
    <dgm:pt modelId="{2463FFA6-33B0-462C-9A44-8450B0E48458}" type="pres">
      <dgm:prSet presAssocID="{D4F1EAED-12F8-4C94-9DF2-1077F7D30BBE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</dgm:ptLst>
  <dgm:cxnLst>
    <dgm:cxn modelId="{A5C6091F-DE85-4D05-B147-F66A5C1D833E}" type="presOf" srcId="{D4F1EAED-12F8-4C94-9DF2-1077F7D30BBE}" destId="{2463FFA6-33B0-462C-9A44-8450B0E48458}" srcOrd="0" destOrd="0" presId="urn:microsoft.com/office/officeart/2005/8/layout/pList2#2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2400" b="1" u="none" strike="noStrike" dirty="0" smtClean="0">
              <a:solidFill>
                <a:schemeClr val="accent1">
                  <a:lumMod val="75000"/>
                </a:schemeClr>
              </a:solidFill>
              <a:effectLst/>
            </a:rPr>
            <a:t>A che punto è la definizione della RIS 3 Sicilia: percorso svolto</a:t>
          </a:r>
          <a:endParaRPr lang="it-IT" sz="24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24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24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3B0F25B7-98F1-4170-9D6F-A0D962F69802}" type="presOf" srcId="{37F295A9-2A2E-416D-9AE6-C3404377959E}" destId="{58FB0A67-F67A-40BA-890E-A840ED83B605}" srcOrd="0" destOrd="0" presId="urn:microsoft.com/office/officeart/2008/layout/LinedList"/>
    <dgm:cxn modelId="{AD29E96D-7184-4F84-97A2-228E00A4547C}" type="presOf" srcId="{2BF37BE0-F1C9-4327-8D6B-194C8F2CF94F}" destId="{7D920113-6D83-4974-923F-4CAA40CA2FDB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BEC1F4E6-88EC-41C0-A1C4-55A020AC8FF2}" type="presParOf" srcId="{58FB0A67-F67A-40BA-890E-A840ED83B605}" destId="{AB26EC88-0333-42E8-B340-C2B4FE18384A}" srcOrd="0" destOrd="0" presId="urn:microsoft.com/office/officeart/2008/layout/LinedList"/>
    <dgm:cxn modelId="{F10740A1-71DF-4F33-9448-E94BB8993B3F}" type="presParOf" srcId="{58FB0A67-F67A-40BA-890E-A840ED83B605}" destId="{45792684-4DE0-4EDD-B49A-A40AB3BD4B9E}" srcOrd="1" destOrd="0" presId="urn:microsoft.com/office/officeart/2008/layout/LinedList"/>
    <dgm:cxn modelId="{80727FF5-EB3C-482E-B71F-BAF248880925}" type="presParOf" srcId="{45792684-4DE0-4EDD-B49A-A40AB3BD4B9E}" destId="{7D920113-6D83-4974-923F-4CAA40CA2FDB}" srcOrd="0" destOrd="0" presId="urn:microsoft.com/office/officeart/2008/layout/LinedList"/>
    <dgm:cxn modelId="{170871E6-43BB-4ADE-89D8-F28BD65E95A8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3C448BFD-0757-4526-824B-930CC0898245}" type="doc">
      <dgm:prSet loTypeId="urn:microsoft.com/office/officeart/2005/8/layout/bProcess4" loCatId="process" qsTypeId="urn:microsoft.com/office/officeart/2005/8/quickstyle/simple2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AC32D306-F587-4CB9-835C-CB1C93D72DE3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1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rgbClr val="FF0000"/>
              </a:solidFill>
            </a:rPr>
            <a:t>Azione di feedback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rgbClr val="FF0000"/>
              </a:solidFill>
            </a:rPr>
            <a:t>    e di restituzione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rgbClr val="FF0000"/>
              </a:solidFill>
            </a:rPr>
            <a:t>    (Laboratorio)</a:t>
          </a:r>
          <a:endParaRPr lang="it-IT" sz="1400" b="1" i="0" dirty="0">
            <a:solidFill>
              <a:srgbClr val="FF0000"/>
            </a:solidFill>
          </a:endParaRPr>
        </a:p>
      </dgm:t>
    </dgm:pt>
    <dgm:pt modelId="{B20F7F9E-EF1F-4DD8-ABB2-53771A1A10E3}" type="parTrans" cxnId="{71593942-5520-489A-BCAA-B9EF37EDB689}">
      <dgm:prSet/>
      <dgm:spPr/>
      <dgm:t>
        <a:bodyPr/>
        <a:lstStyle/>
        <a:p>
          <a:endParaRPr lang="it-IT"/>
        </a:p>
      </dgm:t>
    </dgm:pt>
    <dgm:pt modelId="{B16A180A-39BC-4A8E-AF29-C5D023E10D29}" type="sibTrans" cxnId="{71593942-5520-489A-BCAA-B9EF37EDB689}">
      <dgm:prSet/>
      <dgm:spPr/>
      <dgm:t>
        <a:bodyPr/>
        <a:lstStyle/>
        <a:p>
          <a:endParaRPr lang="it-IT"/>
        </a:p>
      </dgm:t>
    </dgm:pt>
    <dgm:pt modelId="{5178DB71-92E8-4E6E-90FB-FCABDCA37DAD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2.Individuazione ambiti di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</a:t>
          </a:r>
          <a:r>
            <a:rPr lang="it-IT" sz="1400" b="1" dirty="0" err="1" smtClean="0">
              <a:solidFill>
                <a:schemeClr val="accent1"/>
              </a:solidFill>
            </a:rPr>
            <a:t>governance</a:t>
          </a:r>
          <a:r>
            <a:rPr lang="it-IT" sz="1400" b="1" dirty="0" smtClean="0">
              <a:solidFill>
                <a:schemeClr val="accent1"/>
              </a:solidFill>
            </a:rPr>
            <a:t> territoriale</a:t>
          </a:r>
          <a:endParaRPr lang="it-IT" sz="1400" b="1" dirty="0">
            <a:solidFill>
              <a:schemeClr val="accent1"/>
            </a:solidFill>
          </a:endParaRPr>
        </a:p>
      </dgm:t>
    </dgm:pt>
    <dgm:pt modelId="{A79728ED-4D5B-48E8-A395-AA1E8635C4CF}" type="parTrans" cxnId="{1383E022-21B6-4AB3-A55F-94557F5BD9CA}">
      <dgm:prSet/>
      <dgm:spPr/>
      <dgm:t>
        <a:bodyPr/>
        <a:lstStyle/>
        <a:p>
          <a:endParaRPr lang="it-IT"/>
        </a:p>
      </dgm:t>
    </dgm:pt>
    <dgm:pt modelId="{CA6F4989-C138-40A9-8AF5-A514917E80A6}" type="sibTrans" cxnId="{1383E022-21B6-4AB3-A55F-94557F5BD9CA}">
      <dgm:prSet/>
      <dgm:spPr/>
      <dgm:t>
        <a:bodyPr/>
        <a:lstStyle/>
        <a:p>
          <a:endParaRPr lang="it-IT"/>
        </a:p>
      </dgm:t>
    </dgm:pt>
    <dgm:pt modelId="{B8C2C0D2-FDDA-4FAB-A4E3-2B18589E9C35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3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Condivisione delle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priorità</a:t>
          </a:r>
          <a:endParaRPr lang="it-IT" sz="1400" b="1" dirty="0">
            <a:solidFill>
              <a:schemeClr val="accent1"/>
            </a:solidFill>
          </a:endParaRPr>
        </a:p>
      </dgm:t>
    </dgm:pt>
    <dgm:pt modelId="{7902D07F-1689-4333-ADBC-08091F901300}" type="parTrans" cxnId="{6897825E-FE7D-4BF0-A9D6-7103F67B8522}">
      <dgm:prSet/>
      <dgm:spPr/>
      <dgm:t>
        <a:bodyPr/>
        <a:lstStyle/>
        <a:p>
          <a:endParaRPr lang="it-IT"/>
        </a:p>
      </dgm:t>
    </dgm:pt>
    <dgm:pt modelId="{211F9C3C-982B-4B97-B27A-1E02FBC4405E}" type="sibTrans" cxnId="{6897825E-FE7D-4BF0-A9D6-7103F67B8522}">
      <dgm:prSet/>
      <dgm:spPr/>
      <dgm:t>
        <a:bodyPr/>
        <a:lstStyle/>
        <a:p>
          <a:endParaRPr lang="it-IT"/>
        </a:p>
      </dgm:t>
    </dgm:pt>
    <dgm:pt modelId="{6C85DC61-3ACC-4522-B600-E5F022986ED7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4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Formalizzazione della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condivisione (con appositi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strumenti) </a:t>
          </a:r>
          <a:endParaRPr lang="it-IT" sz="1400" b="1" dirty="0">
            <a:solidFill>
              <a:schemeClr val="accent1"/>
            </a:solidFill>
          </a:endParaRPr>
        </a:p>
      </dgm:t>
    </dgm:pt>
    <dgm:pt modelId="{8EAC0061-B0A4-4CCF-A44B-3621E6D0A54B}" type="parTrans" cxnId="{B3B835FA-9690-408A-9BD4-9FCAD83F6D80}">
      <dgm:prSet/>
      <dgm:spPr/>
      <dgm:t>
        <a:bodyPr/>
        <a:lstStyle/>
        <a:p>
          <a:endParaRPr lang="it-IT"/>
        </a:p>
      </dgm:t>
    </dgm:pt>
    <dgm:pt modelId="{511CC809-372D-41E2-96F5-2F36611DD0DA}" type="sibTrans" cxnId="{B3B835FA-9690-408A-9BD4-9FCAD83F6D80}">
      <dgm:prSet/>
      <dgm:spPr/>
      <dgm:t>
        <a:bodyPr/>
        <a:lstStyle/>
        <a:p>
          <a:endParaRPr lang="it-IT"/>
        </a:p>
      </dgm:t>
    </dgm:pt>
    <dgm:pt modelId="{1C208E8C-D13C-468A-81DB-79922D5EDFCF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5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Avvio  strategia per la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comunicazione</a:t>
          </a:r>
        </a:p>
      </dgm:t>
    </dgm:pt>
    <dgm:pt modelId="{957039AB-CA1A-4AFD-859E-154F4DEBF527}" type="parTrans" cxnId="{DEF211D7-D1B9-491D-B1A6-293378679275}">
      <dgm:prSet/>
      <dgm:spPr/>
      <dgm:t>
        <a:bodyPr/>
        <a:lstStyle/>
        <a:p>
          <a:endParaRPr lang="it-IT"/>
        </a:p>
      </dgm:t>
    </dgm:pt>
    <dgm:pt modelId="{3C4F8C09-20F9-4991-92C5-6F766EBD406E}" type="sibTrans" cxnId="{DEF211D7-D1B9-491D-B1A6-293378679275}">
      <dgm:prSet/>
      <dgm:spPr/>
      <dgm:t>
        <a:bodyPr/>
        <a:lstStyle/>
        <a:p>
          <a:endParaRPr lang="it-IT"/>
        </a:p>
      </dgm:t>
    </dgm:pt>
    <dgm:pt modelId="{C968E210-BB32-431D-8824-0EC0C3AF4FDC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6.</a:t>
          </a:r>
          <a:r>
            <a:rPr lang="it-IT" sz="1400" b="1" dirty="0" smtClean="0"/>
            <a:t> </a:t>
          </a:r>
          <a:r>
            <a:rPr lang="it-IT" sz="1400" b="1" dirty="0" smtClean="0">
              <a:solidFill>
                <a:schemeClr val="accent1"/>
              </a:solidFill>
            </a:rPr>
            <a:t>Costituzione di  una Unità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tecnica con funzioni di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indirizzo e coordinamento, 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monitoraggio e valutazione</a:t>
          </a:r>
        </a:p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    della Strategia</a:t>
          </a:r>
        </a:p>
      </dgm:t>
    </dgm:pt>
    <dgm:pt modelId="{5331B12E-8184-4B3D-B50D-FBBD08DC3627}" type="parTrans" cxnId="{1C90699B-20A0-4D26-AEF3-29A5C62F94DB}">
      <dgm:prSet/>
      <dgm:spPr/>
      <dgm:t>
        <a:bodyPr/>
        <a:lstStyle/>
        <a:p>
          <a:endParaRPr lang="it-IT"/>
        </a:p>
      </dgm:t>
    </dgm:pt>
    <dgm:pt modelId="{66A15AD4-475E-46F8-B414-E9103C1FB760}" type="sibTrans" cxnId="{1C90699B-20A0-4D26-AEF3-29A5C62F94DB}">
      <dgm:prSet/>
      <dgm:spPr/>
      <dgm:t>
        <a:bodyPr/>
        <a:lstStyle/>
        <a:p>
          <a:endParaRPr lang="it-IT"/>
        </a:p>
      </dgm:t>
    </dgm:pt>
    <dgm:pt modelId="{E061F05B-A45A-4F8C-AAE3-0AA46C078AD9}">
      <dgm:prSet custT="1"/>
      <dgm:spPr/>
      <dgm:t>
        <a:bodyPr/>
        <a:lstStyle/>
        <a:p>
          <a:pPr algn="l" rtl="0">
            <a:spcAft>
              <a:spcPts val="0"/>
            </a:spcAft>
          </a:pPr>
          <a:r>
            <a:rPr lang="it-IT" sz="1400" b="1" dirty="0" smtClean="0">
              <a:solidFill>
                <a:schemeClr val="accent1"/>
              </a:solidFill>
            </a:rPr>
            <a:t>7.Costituzione del Gruppo</a:t>
          </a:r>
        </a:p>
        <a:p>
          <a:pPr algn="l" rtl="0">
            <a:spcAft>
              <a:spcPct val="35000"/>
            </a:spcAft>
          </a:pPr>
          <a:r>
            <a:rPr lang="it-IT" sz="1400" b="1" dirty="0" smtClean="0">
              <a:solidFill>
                <a:schemeClr val="accent1"/>
              </a:solidFill>
            </a:rPr>
            <a:t>   di Pilotaggio</a:t>
          </a:r>
        </a:p>
      </dgm:t>
    </dgm:pt>
    <dgm:pt modelId="{16270F7E-6D1A-4187-89CC-154F4CC5750B}" type="parTrans" cxnId="{5B7572E8-4AE9-4633-8B55-68F16E43F504}">
      <dgm:prSet/>
      <dgm:spPr/>
      <dgm:t>
        <a:bodyPr/>
        <a:lstStyle/>
        <a:p>
          <a:endParaRPr lang="it-IT"/>
        </a:p>
      </dgm:t>
    </dgm:pt>
    <dgm:pt modelId="{89C05BD0-582D-4EFE-9EDB-BEC38AD8A19E}" type="sibTrans" cxnId="{5B7572E8-4AE9-4633-8B55-68F16E43F504}">
      <dgm:prSet/>
      <dgm:spPr/>
      <dgm:t>
        <a:bodyPr/>
        <a:lstStyle/>
        <a:p>
          <a:endParaRPr lang="it-IT"/>
        </a:p>
      </dgm:t>
    </dgm:pt>
    <dgm:pt modelId="{54DD2237-D68B-4BCA-B587-F38FAC87CED2}" type="pres">
      <dgm:prSet presAssocID="{3C448BFD-0757-4526-824B-930CC0898245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A783BA33-683E-4A38-B973-0062F99E6EF7}" type="pres">
      <dgm:prSet presAssocID="{AC32D306-F587-4CB9-835C-CB1C93D72DE3}" presName="compNode" presStyleCnt="0"/>
      <dgm:spPr/>
      <dgm:t>
        <a:bodyPr/>
        <a:lstStyle/>
        <a:p>
          <a:endParaRPr lang="it-IT"/>
        </a:p>
      </dgm:t>
    </dgm:pt>
    <dgm:pt modelId="{D7657D27-9A10-4917-95ED-E3951F569930}" type="pres">
      <dgm:prSet presAssocID="{AC32D306-F587-4CB9-835C-CB1C93D72DE3}" presName="dummyConnPt" presStyleCnt="0"/>
      <dgm:spPr/>
      <dgm:t>
        <a:bodyPr/>
        <a:lstStyle/>
        <a:p>
          <a:endParaRPr lang="it-IT"/>
        </a:p>
      </dgm:t>
    </dgm:pt>
    <dgm:pt modelId="{21061A77-D165-43D5-9ED8-B5EB9DDB2753}" type="pres">
      <dgm:prSet presAssocID="{AC32D306-F587-4CB9-835C-CB1C93D72DE3}" presName="node" presStyleLbl="node1" presStyleIdx="0" presStyleCnt="7" custScaleX="211759" custScaleY="2380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CA28F2D-F759-4636-ACBD-8466D60D4E17}" type="pres">
      <dgm:prSet presAssocID="{B16A180A-39BC-4A8E-AF29-C5D023E10D29}" presName="sibTrans" presStyleLbl="bgSibTrans2D1" presStyleIdx="0" presStyleCnt="6"/>
      <dgm:spPr/>
      <dgm:t>
        <a:bodyPr/>
        <a:lstStyle/>
        <a:p>
          <a:endParaRPr lang="it-IT"/>
        </a:p>
      </dgm:t>
    </dgm:pt>
    <dgm:pt modelId="{965985CA-6772-4672-9E5D-DB2341024212}" type="pres">
      <dgm:prSet presAssocID="{5178DB71-92E8-4E6E-90FB-FCABDCA37DAD}" presName="compNode" presStyleCnt="0"/>
      <dgm:spPr/>
      <dgm:t>
        <a:bodyPr/>
        <a:lstStyle/>
        <a:p>
          <a:endParaRPr lang="it-IT"/>
        </a:p>
      </dgm:t>
    </dgm:pt>
    <dgm:pt modelId="{234B818D-D6BE-4086-8C93-6630BF61A9B9}" type="pres">
      <dgm:prSet presAssocID="{5178DB71-92E8-4E6E-90FB-FCABDCA37DAD}" presName="dummyConnPt" presStyleCnt="0"/>
      <dgm:spPr/>
      <dgm:t>
        <a:bodyPr/>
        <a:lstStyle/>
        <a:p>
          <a:endParaRPr lang="it-IT"/>
        </a:p>
      </dgm:t>
    </dgm:pt>
    <dgm:pt modelId="{CAD84E32-EB4D-4F6E-9190-AC855B3EA2A5}" type="pres">
      <dgm:prSet presAssocID="{5178DB71-92E8-4E6E-90FB-FCABDCA37DAD}" presName="node" presStyleLbl="node1" presStyleIdx="1" presStyleCnt="7" custScaleX="244567" custScaleY="14956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FE62B99-C380-4A7D-A81E-0B836ACE2D97}" type="pres">
      <dgm:prSet presAssocID="{CA6F4989-C138-40A9-8AF5-A514917E80A6}" presName="sibTrans" presStyleLbl="bgSibTrans2D1" presStyleIdx="1" presStyleCnt="6"/>
      <dgm:spPr/>
      <dgm:t>
        <a:bodyPr/>
        <a:lstStyle/>
        <a:p>
          <a:endParaRPr lang="it-IT"/>
        </a:p>
      </dgm:t>
    </dgm:pt>
    <dgm:pt modelId="{5E258E68-2A87-4E6E-8E81-E1D05F73E9CB}" type="pres">
      <dgm:prSet presAssocID="{B8C2C0D2-FDDA-4FAB-A4E3-2B18589E9C35}" presName="compNode" presStyleCnt="0"/>
      <dgm:spPr/>
      <dgm:t>
        <a:bodyPr/>
        <a:lstStyle/>
        <a:p>
          <a:endParaRPr lang="it-IT"/>
        </a:p>
      </dgm:t>
    </dgm:pt>
    <dgm:pt modelId="{E081CF10-D4E2-404A-8260-B27F0747E159}" type="pres">
      <dgm:prSet presAssocID="{B8C2C0D2-FDDA-4FAB-A4E3-2B18589E9C35}" presName="dummyConnPt" presStyleCnt="0"/>
      <dgm:spPr/>
      <dgm:t>
        <a:bodyPr/>
        <a:lstStyle/>
        <a:p>
          <a:endParaRPr lang="it-IT"/>
        </a:p>
      </dgm:t>
    </dgm:pt>
    <dgm:pt modelId="{D4C33AB0-25CA-4969-A8C5-FD5F197A3E20}" type="pres">
      <dgm:prSet presAssocID="{B8C2C0D2-FDDA-4FAB-A4E3-2B18589E9C35}" presName="node" presStyleLbl="node1" presStyleIdx="2" presStyleCnt="7" custScaleX="254973" custScaleY="24638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BCD11DB-F453-4B2F-B9D0-13AA9F8F954B}" type="pres">
      <dgm:prSet presAssocID="{211F9C3C-982B-4B97-B27A-1E02FBC4405E}" presName="sibTrans" presStyleLbl="bgSibTrans2D1" presStyleIdx="2" presStyleCnt="6"/>
      <dgm:spPr/>
      <dgm:t>
        <a:bodyPr/>
        <a:lstStyle/>
        <a:p>
          <a:endParaRPr lang="it-IT"/>
        </a:p>
      </dgm:t>
    </dgm:pt>
    <dgm:pt modelId="{F3465343-1F97-406F-8425-9E9BB5B849E4}" type="pres">
      <dgm:prSet presAssocID="{6C85DC61-3ACC-4522-B600-E5F022986ED7}" presName="compNode" presStyleCnt="0"/>
      <dgm:spPr/>
      <dgm:t>
        <a:bodyPr/>
        <a:lstStyle/>
        <a:p>
          <a:endParaRPr lang="it-IT"/>
        </a:p>
      </dgm:t>
    </dgm:pt>
    <dgm:pt modelId="{13055E65-0F93-4AAA-81AD-E9A6E4718EB0}" type="pres">
      <dgm:prSet presAssocID="{6C85DC61-3ACC-4522-B600-E5F022986ED7}" presName="dummyConnPt" presStyleCnt="0"/>
      <dgm:spPr/>
      <dgm:t>
        <a:bodyPr/>
        <a:lstStyle/>
        <a:p>
          <a:endParaRPr lang="it-IT"/>
        </a:p>
      </dgm:t>
    </dgm:pt>
    <dgm:pt modelId="{C5C7BDE0-612E-411D-8AB9-89A47964221E}" type="pres">
      <dgm:prSet presAssocID="{6C85DC61-3ACC-4522-B600-E5F022986ED7}" presName="node" presStyleLbl="node1" presStyleIdx="3" presStyleCnt="7" custScaleX="303919" custScaleY="207407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D20F1A6-36D0-4E01-9A27-C5A6895D97F1}" type="pres">
      <dgm:prSet presAssocID="{511CC809-372D-41E2-96F5-2F36611DD0DA}" presName="sibTrans" presStyleLbl="bgSibTrans2D1" presStyleIdx="3" presStyleCnt="6"/>
      <dgm:spPr/>
      <dgm:t>
        <a:bodyPr/>
        <a:lstStyle/>
        <a:p>
          <a:endParaRPr lang="it-IT"/>
        </a:p>
      </dgm:t>
    </dgm:pt>
    <dgm:pt modelId="{DA27399E-6C27-476A-BC0A-F369CAEA63F0}" type="pres">
      <dgm:prSet presAssocID="{1C208E8C-D13C-468A-81DB-79922D5EDFCF}" presName="compNode" presStyleCnt="0"/>
      <dgm:spPr/>
      <dgm:t>
        <a:bodyPr/>
        <a:lstStyle/>
        <a:p>
          <a:endParaRPr lang="it-IT"/>
        </a:p>
      </dgm:t>
    </dgm:pt>
    <dgm:pt modelId="{DE5D780A-6EE0-4F41-9E5F-7E3AB7BF16CF}" type="pres">
      <dgm:prSet presAssocID="{1C208E8C-D13C-468A-81DB-79922D5EDFCF}" presName="dummyConnPt" presStyleCnt="0"/>
      <dgm:spPr/>
      <dgm:t>
        <a:bodyPr/>
        <a:lstStyle/>
        <a:p>
          <a:endParaRPr lang="it-IT"/>
        </a:p>
      </dgm:t>
    </dgm:pt>
    <dgm:pt modelId="{238DA9E9-3C12-47A7-AF1C-6EFA3B6BFACF}" type="pres">
      <dgm:prSet presAssocID="{1C208E8C-D13C-468A-81DB-79922D5EDFCF}" presName="node" presStyleLbl="node1" presStyleIdx="4" presStyleCnt="7" custScaleX="339830" custScaleY="17881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38425E9-A09D-45A4-86DE-3B871D235AAB}" type="pres">
      <dgm:prSet presAssocID="{3C4F8C09-20F9-4991-92C5-6F766EBD406E}" presName="sibTrans" presStyleLbl="bgSibTrans2D1" presStyleIdx="4" presStyleCnt="6"/>
      <dgm:spPr/>
      <dgm:t>
        <a:bodyPr/>
        <a:lstStyle/>
        <a:p>
          <a:endParaRPr lang="it-IT"/>
        </a:p>
      </dgm:t>
    </dgm:pt>
    <dgm:pt modelId="{2C650BFA-FDD2-4ABB-A762-11AA5CF9FA72}" type="pres">
      <dgm:prSet presAssocID="{C968E210-BB32-431D-8824-0EC0C3AF4FDC}" presName="compNode" presStyleCnt="0"/>
      <dgm:spPr/>
      <dgm:t>
        <a:bodyPr/>
        <a:lstStyle/>
        <a:p>
          <a:endParaRPr lang="it-IT"/>
        </a:p>
      </dgm:t>
    </dgm:pt>
    <dgm:pt modelId="{C3081BD4-99CD-483A-AB88-BE97BB6E43C7}" type="pres">
      <dgm:prSet presAssocID="{C968E210-BB32-431D-8824-0EC0C3AF4FDC}" presName="dummyConnPt" presStyleCnt="0"/>
      <dgm:spPr/>
      <dgm:t>
        <a:bodyPr/>
        <a:lstStyle/>
        <a:p>
          <a:endParaRPr lang="it-IT"/>
        </a:p>
      </dgm:t>
    </dgm:pt>
    <dgm:pt modelId="{F7A22B34-E67D-452E-B7A3-670E43080D52}" type="pres">
      <dgm:prSet presAssocID="{C968E210-BB32-431D-8824-0EC0C3AF4FDC}" presName="node" presStyleLbl="node1" presStyleIdx="5" presStyleCnt="7" custScaleX="305646" custScaleY="25449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2DC82F0-E497-49EB-AA87-BC9FF86E52AE}" type="pres">
      <dgm:prSet presAssocID="{66A15AD4-475E-46F8-B414-E9103C1FB760}" presName="sibTrans" presStyleLbl="bgSibTrans2D1" presStyleIdx="5" presStyleCnt="6"/>
      <dgm:spPr/>
      <dgm:t>
        <a:bodyPr/>
        <a:lstStyle/>
        <a:p>
          <a:endParaRPr lang="it-IT"/>
        </a:p>
      </dgm:t>
    </dgm:pt>
    <dgm:pt modelId="{3730F0D5-A128-4FC6-AD9C-3FA4B4A5738B}" type="pres">
      <dgm:prSet presAssocID="{E061F05B-A45A-4F8C-AAE3-0AA46C078AD9}" presName="compNode" presStyleCnt="0"/>
      <dgm:spPr/>
      <dgm:t>
        <a:bodyPr/>
        <a:lstStyle/>
        <a:p>
          <a:endParaRPr lang="it-IT"/>
        </a:p>
      </dgm:t>
    </dgm:pt>
    <dgm:pt modelId="{656FECEE-8AC6-4F4F-8470-98E16552EB61}" type="pres">
      <dgm:prSet presAssocID="{E061F05B-A45A-4F8C-AAE3-0AA46C078AD9}" presName="dummyConnPt" presStyleCnt="0"/>
      <dgm:spPr/>
      <dgm:t>
        <a:bodyPr/>
        <a:lstStyle/>
        <a:p>
          <a:endParaRPr lang="it-IT"/>
        </a:p>
      </dgm:t>
    </dgm:pt>
    <dgm:pt modelId="{6C2FB6B5-23EA-4C6B-B472-9E5490D7D680}" type="pres">
      <dgm:prSet presAssocID="{E061F05B-A45A-4F8C-AAE3-0AA46C078AD9}" presName="node" presStyleLbl="node1" presStyleIdx="6" presStyleCnt="7" custScaleX="266696" custScaleY="28960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2D59C1B9-3711-4EDA-A793-4F4E49304010}" type="presOf" srcId="{3C448BFD-0757-4526-824B-930CC0898245}" destId="{54DD2237-D68B-4BCA-B587-F38FAC87CED2}" srcOrd="0" destOrd="0" presId="urn:microsoft.com/office/officeart/2005/8/layout/bProcess4"/>
    <dgm:cxn modelId="{263F6367-D46D-4736-A9AA-77802E1572C9}" type="presOf" srcId="{1C208E8C-D13C-468A-81DB-79922D5EDFCF}" destId="{238DA9E9-3C12-47A7-AF1C-6EFA3B6BFACF}" srcOrd="0" destOrd="0" presId="urn:microsoft.com/office/officeart/2005/8/layout/bProcess4"/>
    <dgm:cxn modelId="{75DCBDC6-4759-4CE8-9E76-CD05766CDB7F}" type="presOf" srcId="{66A15AD4-475E-46F8-B414-E9103C1FB760}" destId="{A2DC82F0-E497-49EB-AA87-BC9FF86E52AE}" srcOrd="0" destOrd="0" presId="urn:microsoft.com/office/officeart/2005/8/layout/bProcess4"/>
    <dgm:cxn modelId="{85BE1E17-D9BE-4ED2-BC0F-ED7D1815824B}" type="presOf" srcId="{AC32D306-F587-4CB9-835C-CB1C93D72DE3}" destId="{21061A77-D165-43D5-9ED8-B5EB9DDB2753}" srcOrd="0" destOrd="0" presId="urn:microsoft.com/office/officeart/2005/8/layout/bProcess4"/>
    <dgm:cxn modelId="{1383E022-21B6-4AB3-A55F-94557F5BD9CA}" srcId="{3C448BFD-0757-4526-824B-930CC0898245}" destId="{5178DB71-92E8-4E6E-90FB-FCABDCA37DAD}" srcOrd="1" destOrd="0" parTransId="{A79728ED-4D5B-48E8-A395-AA1E8635C4CF}" sibTransId="{CA6F4989-C138-40A9-8AF5-A514917E80A6}"/>
    <dgm:cxn modelId="{8382DB9A-C3F8-4058-A461-2D99030BF8F3}" type="presOf" srcId="{B8C2C0D2-FDDA-4FAB-A4E3-2B18589E9C35}" destId="{D4C33AB0-25CA-4969-A8C5-FD5F197A3E20}" srcOrd="0" destOrd="0" presId="urn:microsoft.com/office/officeart/2005/8/layout/bProcess4"/>
    <dgm:cxn modelId="{01916AE2-DE8B-4E9C-A9EC-EC1DF4277B5E}" type="presOf" srcId="{C968E210-BB32-431D-8824-0EC0C3AF4FDC}" destId="{F7A22B34-E67D-452E-B7A3-670E43080D52}" srcOrd="0" destOrd="0" presId="urn:microsoft.com/office/officeart/2005/8/layout/bProcess4"/>
    <dgm:cxn modelId="{EDE33D0F-6ED4-4B2B-8665-852AEE8B81CD}" type="presOf" srcId="{211F9C3C-982B-4B97-B27A-1E02FBC4405E}" destId="{2BCD11DB-F453-4B2F-B9D0-13AA9F8F954B}" srcOrd="0" destOrd="0" presId="urn:microsoft.com/office/officeart/2005/8/layout/bProcess4"/>
    <dgm:cxn modelId="{EEB65301-2ABA-4F4D-A79D-846F92DA1AE9}" type="presOf" srcId="{E061F05B-A45A-4F8C-AAE3-0AA46C078AD9}" destId="{6C2FB6B5-23EA-4C6B-B472-9E5490D7D680}" srcOrd="0" destOrd="0" presId="urn:microsoft.com/office/officeart/2005/8/layout/bProcess4"/>
    <dgm:cxn modelId="{6897825E-FE7D-4BF0-A9D6-7103F67B8522}" srcId="{3C448BFD-0757-4526-824B-930CC0898245}" destId="{B8C2C0D2-FDDA-4FAB-A4E3-2B18589E9C35}" srcOrd="2" destOrd="0" parTransId="{7902D07F-1689-4333-ADBC-08091F901300}" sibTransId="{211F9C3C-982B-4B97-B27A-1E02FBC4405E}"/>
    <dgm:cxn modelId="{02306455-4AA6-41FD-B99C-7B267E0F74C4}" type="presOf" srcId="{6C85DC61-3ACC-4522-B600-E5F022986ED7}" destId="{C5C7BDE0-612E-411D-8AB9-89A47964221E}" srcOrd="0" destOrd="0" presId="urn:microsoft.com/office/officeart/2005/8/layout/bProcess4"/>
    <dgm:cxn modelId="{6F59F33A-4FF7-41D4-98B9-EF5274338A99}" type="presOf" srcId="{511CC809-372D-41E2-96F5-2F36611DD0DA}" destId="{9D20F1A6-36D0-4E01-9A27-C5A6895D97F1}" srcOrd="0" destOrd="0" presId="urn:microsoft.com/office/officeart/2005/8/layout/bProcess4"/>
    <dgm:cxn modelId="{759188AB-B05A-4D5F-A411-BAC5E13A5C4F}" type="presOf" srcId="{B16A180A-39BC-4A8E-AF29-C5D023E10D29}" destId="{4CA28F2D-F759-4636-ACBD-8466D60D4E17}" srcOrd="0" destOrd="0" presId="urn:microsoft.com/office/officeart/2005/8/layout/bProcess4"/>
    <dgm:cxn modelId="{71593942-5520-489A-BCAA-B9EF37EDB689}" srcId="{3C448BFD-0757-4526-824B-930CC0898245}" destId="{AC32D306-F587-4CB9-835C-CB1C93D72DE3}" srcOrd="0" destOrd="0" parTransId="{B20F7F9E-EF1F-4DD8-ABB2-53771A1A10E3}" sibTransId="{B16A180A-39BC-4A8E-AF29-C5D023E10D29}"/>
    <dgm:cxn modelId="{5B7572E8-4AE9-4633-8B55-68F16E43F504}" srcId="{3C448BFD-0757-4526-824B-930CC0898245}" destId="{E061F05B-A45A-4F8C-AAE3-0AA46C078AD9}" srcOrd="6" destOrd="0" parTransId="{16270F7E-6D1A-4187-89CC-154F4CC5750B}" sibTransId="{89C05BD0-582D-4EFE-9EDB-BEC38AD8A19E}"/>
    <dgm:cxn modelId="{B3B835FA-9690-408A-9BD4-9FCAD83F6D80}" srcId="{3C448BFD-0757-4526-824B-930CC0898245}" destId="{6C85DC61-3ACC-4522-B600-E5F022986ED7}" srcOrd="3" destOrd="0" parTransId="{8EAC0061-B0A4-4CCF-A44B-3621E6D0A54B}" sibTransId="{511CC809-372D-41E2-96F5-2F36611DD0DA}"/>
    <dgm:cxn modelId="{1C90699B-20A0-4D26-AEF3-29A5C62F94DB}" srcId="{3C448BFD-0757-4526-824B-930CC0898245}" destId="{C968E210-BB32-431D-8824-0EC0C3AF4FDC}" srcOrd="5" destOrd="0" parTransId="{5331B12E-8184-4B3D-B50D-FBBD08DC3627}" sibTransId="{66A15AD4-475E-46F8-B414-E9103C1FB760}"/>
    <dgm:cxn modelId="{59F7BCCA-A53B-4887-A53D-3438041F1EB1}" type="presOf" srcId="{3C4F8C09-20F9-4991-92C5-6F766EBD406E}" destId="{F38425E9-A09D-45A4-86DE-3B871D235AAB}" srcOrd="0" destOrd="0" presId="urn:microsoft.com/office/officeart/2005/8/layout/bProcess4"/>
    <dgm:cxn modelId="{DEF211D7-D1B9-491D-B1A6-293378679275}" srcId="{3C448BFD-0757-4526-824B-930CC0898245}" destId="{1C208E8C-D13C-468A-81DB-79922D5EDFCF}" srcOrd="4" destOrd="0" parTransId="{957039AB-CA1A-4AFD-859E-154F4DEBF527}" sibTransId="{3C4F8C09-20F9-4991-92C5-6F766EBD406E}"/>
    <dgm:cxn modelId="{76ED19F1-7C26-495D-8418-7CEBFC77D71D}" type="presOf" srcId="{5178DB71-92E8-4E6E-90FB-FCABDCA37DAD}" destId="{CAD84E32-EB4D-4F6E-9190-AC855B3EA2A5}" srcOrd="0" destOrd="0" presId="urn:microsoft.com/office/officeart/2005/8/layout/bProcess4"/>
    <dgm:cxn modelId="{D81CA3B9-138A-475C-9D85-A06C1AF143CC}" type="presOf" srcId="{CA6F4989-C138-40A9-8AF5-A514917E80A6}" destId="{AFE62B99-C380-4A7D-A81E-0B836ACE2D97}" srcOrd="0" destOrd="0" presId="urn:microsoft.com/office/officeart/2005/8/layout/bProcess4"/>
    <dgm:cxn modelId="{C708CA5B-C678-4569-9331-38FA5B6F7BE5}" type="presParOf" srcId="{54DD2237-D68B-4BCA-B587-F38FAC87CED2}" destId="{A783BA33-683E-4A38-B973-0062F99E6EF7}" srcOrd="0" destOrd="0" presId="urn:microsoft.com/office/officeart/2005/8/layout/bProcess4"/>
    <dgm:cxn modelId="{78B2559B-88EA-4632-9F92-AB6931ED39E1}" type="presParOf" srcId="{A783BA33-683E-4A38-B973-0062F99E6EF7}" destId="{D7657D27-9A10-4917-95ED-E3951F569930}" srcOrd="0" destOrd="0" presId="urn:microsoft.com/office/officeart/2005/8/layout/bProcess4"/>
    <dgm:cxn modelId="{68E79446-D1ED-4E7D-A908-D0E4570A8826}" type="presParOf" srcId="{A783BA33-683E-4A38-B973-0062F99E6EF7}" destId="{21061A77-D165-43D5-9ED8-B5EB9DDB2753}" srcOrd="1" destOrd="0" presId="urn:microsoft.com/office/officeart/2005/8/layout/bProcess4"/>
    <dgm:cxn modelId="{21B2F429-3604-4439-9127-39F297508841}" type="presParOf" srcId="{54DD2237-D68B-4BCA-B587-F38FAC87CED2}" destId="{4CA28F2D-F759-4636-ACBD-8466D60D4E17}" srcOrd="1" destOrd="0" presId="urn:microsoft.com/office/officeart/2005/8/layout/bProcess4"/>
    <dgm:cxn modelId="{CE6A4814-C339-4894-BDAB-DC57C632790E}" type="presParOf" srcId="{54DD2237-D68B-4BCA-B587-F38FAC87CED2}" destId="{965985CA-6772-4672-9E5D-DB2341024212}" srcOrd="2" destOrd="0" presId="urn:microsoft.com/office/officeart/2005/8/layout/bProcess4"/>
    <dgm:cxn modelId="{BC1112C3-097F-465C-991C-203BE6652C22}" type="presParOf" srcId="{965985CA-6772-4672-9E5D-DB2341024212}" destId="{234B818D-D6BE-4086-8C93-6630BF61A9B9}" srcOrd="0" destOrd="0" presId="urn:microsoft.com/office/officeart/2005/8/layout/bProcess4"/>
    <dgm:cxn modelId="{3424397C-B233-4413-87B8-621B10713A4B}" type="presParOf" srcId="{965985CA-6772-4672-9E5D-DB2341024212}" destId="{CAD84E32-EB4D-4F6E-9190-AC855B3EA2A5}" srcOrd="1" destOrd="0" presId="urn:microsoft.com/office/officeart/2005/8/layout/bProcess4"/>
    <dgm:cxn modelId="{94BB8D1B-9515-48C2-B0F6-32A293A104C8}" type="presParOf" srcId="{54DD2237-D68B-4BCA-B587-F38FAC87CED2}" destId="{AFE62B99-C380-4A7D-A81E-0B836ACE2D97}" srcOrd="3" destOrd="0" presId="urn:microsoft.com/office/officeart/2005/8/layout/bProcess4"/>
    <dgm:cxn modelId="{80469051-BF99-42EE-BDB9-807612343E7F}" type="presParOf" srcId="{54DD2237-D68B-4BCA-B587-F38FAC87CED2}" destId="{5E258E68-2A87-4E6E-8E81-E1D05F73E9CB}" srcOrd="4" destOrd="0" presId="urn:microsoft.com/office/officeart/2005/8/layout/bProcess4"/>
    <dgm:cxn modelId="{4486CD00-DA5B-4428-AE77-9FC18C8C7F45}" type="presParOf" srcId="{5E258E68-2A87-4E6E-8E81-E1D05F73E9CB}" destId="{E081CF10-D4E2-404A-8260-B27F0747E159}" srcOrd="0" destOrd="0" presId="urn:microsoft.com/office/officeart/2005/8/layout/bProcess4"/>
    <dgm:cxn modelId="{D59B5F77-C80E-4149-95B1-4E7098A221F1}" type="presParOf" srcId="{5E258E68-2A87-4E6E-8E81-E1D05F73E9CB}" destId="{D4C33AB0-25CA-4969-A8C5-FD5F197A3E20}" srcOrd="1" destOrd="0" presId="urn:microsoft.com/office/officeart/2005/8/layout/bProcess4"/>
    <dgm:cxn modelId="{1B88CF35-9107-4916-A41E-F0D30FCB5A30}" type="presParOf" srcId="{54DD2237-D68B-4BCA-B587-F38FAC87CED2}" destId="{2BCD11DB-F453-4B2F-B9D0-13AA9F8F954B}" srcOrd="5" destOrd="0" presId="urn:microsoft.com/office/officeart/2005/8/layout/bProcess4"/>
    <dgm:cxn modelId="{34576022-9FC0-4F99-9FE6-F4F9CC9308D9}" type="presParOf" srcId="{54DD2237-D68B-4BCA-B587-F38FAC87CED2}" destId="{F3465343-1F97-406F-8425-9E9BB5B849E4}" srcOrd="6" destOrd="0" presId="urn:microsoft.com/office/officeart/2005/8/layout/bProcess4"/>
    <dgm:cxn modelId="{9030A9C6-C708-46C8-B9C6-10486E715735}" type="presParOf" srcId="{F3465343-1F97-406F-8425-9E9BB5B849E4}" destId="{13055E65-0F93-4AAA-81AD-E9A6E4718EB0}" srcOrd="0" destOrd="0" presId="urn:microsoft.com/office/officeart/2005/8/layout/bProcess4"/>
    <dgm:cxn modelId="{FA453496-4016-45D4-83C9-F5EE3B89290C}" type="presParOf" srcId="{F3465343-1F97-406F-8425-9E9BB5B849E4}" destId="{C5C7BDE0-612E-411D-8AB9-89A47964221E}" srcOrd="1" destOrd="0" presId="urn:microsoft.com/office/officeart/2005/8/layout/bProcess4"/>
    <dgm:cxn modelId="{ABB43A02-56A8-4770-986B-13C85C628388}" type="presParOf" srcId="{54DD2237-D68B-4BCA-B587-F38FAC87CED2}" destId="{9D20F1A6-36D0-4E01-9A27-C5A6895D97F1}" srcOrd="7" destOrd="0" presId="urn:microsoft.com/office/officeart/2005/8/layout/bProcess4"/>
    <dgm:cxn modelId="{5833A9B3-53AB-442F-8E45-41116D3260CD}" type="presParOf" srcId="{54DD2237-D68B-4BCA-B587-F38FAC87CED2}" destId="{DA27399E-6C27-476A-BC0A-F369CAEA63F0}" srcOrd="8" destOrd="0" presId="urn:microsoft.com/office/officeart/2005/8/layout/bProcess4"/>
    <dgm:cxn modelId="{87BE652A-0C61-4852-BC13-DBCDD28D62E3}" type="presParOf" srcId="{DA27399E-6C27-476A-BC0A-F369CAEA63F0}" destId="{DE5D780A-6EE0-4F41-9E5F-7E3AB7BF16CF}" srcOrd="0" destOrd="0" presId="urn:microsoft.com/office/officeart/2005/8/layout/bProcess4"/>
    <dgm:cxn modelId="{21C1483C-21AD-46B6-BC29-07318BD88D70}" type="presParOf" srcId="{DA27399E-6C27-476A-BC0A-F369CAEA63F0}" destId="{238DA9E9-3C12-47A7-AF1C-6EFA3B6BFACF}" srcOrd="1" destOrd="0" presId="urn:microsoft.com/office/officeart/2005/8/layout/bProcess4"/>
    <dgm:cxn modelId="{BA6571F3-91C6-4629-8186-374A4C671201}" type="presParOf" srcId="{54DD2237-D68B-4BCA-B587-F38FAC87CED2}" destId="{F38425E9-A09D-45A4-86DE-3B871D235AAB}" srcOrd="9" destOrd="0" presId="urn:microsoft.com/office/officeart/2005/8/layout/bProcess4"/>
    <dgm:cxn modelId="{E3FE4137-7566-4F80-A06E-0AAE24730949}" type="presParOf" srcId="{54DD2237-D68B-4BCA-B587-F38FAC87CED2}" destId="{2C650BFA-FDD2-4ABB-A762-11AA5CF9FA72}" srcOrd="10" destOrd="0" presId="urn:microsoft.com/office/officeart/2005/8/layout/bProcess4"/>
    <dgm:cxn modelId="{79AD2DA3-2E45-4A4B-89F1-8014F911A281}" type="presParOf" srcId="{2C650BFA-FDD2-4ABB-A762-11AA5CF9FA72}" destId="{C3081BD4-99CD-483A-AB88-BE97BB6E43C7}" srcOrd="0" destOrd="0" presId="urn:microsoft.com/office/officeart/2005/8/layout/bProcess4"/>
    <dgm:cxn modelId="{E1774AAB-48A6-44EF-9711-3EB7631276E5}" type="presParOf" srcId="{2C650BFA-FDD2-4ABB-A762-11AA5CF9FA72}" destId="{F7A22B34-E67D-452E-B7A3-670E43080D52}" srcOrd="1" destOrd="0" presId="urn:microsoft.com/office/officeart/2005/8/layout/bProcess4"/>
    <dgm:cxn modelId="{4AF1DAD6-D2BC-46B1-8CF5-6F1C833F606C}" type="presParOf" srcId="{54DD2237-D68B-4BCA-B587-F38FAC87CED2}" destId="{A2DC82F0-E497-49EB-AA87-BC9FF86E52AE}" srcOrd="11" destOrd="0" presId="urn:microsoft.com/office/officeart/2005/8/layout/bProcess4"/>
    <dgm:cxn modelId="{A41645D1-9E5D-4055-80B9-1AF4A50DC155}" type="presParOf" srcId="{54DD2237-D68B-4BCA-B587-F38FAC87CED2}" destId="{3730F0D5-A128-4FC6-AD9C-3FA4B4A5738B}" srcOrd="12" destOrd="0" presId="urn:microsoft.com/office/officeart/2005/8/layout/bProcess4"/>
    <dgm:cxn modelId="{4F295433-3EFF-43EB-9131-BC64A793D977}" type="presParOf" srcId="{3730F0D5-A128-4FC6-AD9C-3FA4B4A5738B}" destId="{656FECEE-8AC6-4F4F-8470-98E16552EB61}" srcOrd="0" destOrd="0" presId="urn:microsoft.com/office/officeart/2005/8/layout/bProcess4"/>
    <dgm:cxn modelId="{A3336C3C-71A0-4768-902A-F62804BD0DFC}" type="presParOf" srcId="{3730F0D5-A128-4FC6-AD9C-3FA4B4A5738B}" destId="{6C2FB6B5-23EA-4C6B-B472-9E5490D7D680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4.xml><?xml version="1.0" encoding="utf-8"?>
<dgm:dataModel xmlns:dgm="http://schemas.openxmlformats.org/drawingml/2006/diagram" xmlns:a="http://schemas.openxmlformats.org/drawingml/2006/main">
  <dgm:ptLst>
    <dgm:pt modelId="{45A60A9E-F327-4D1B-A2A6-269D07F7FB51}" type="doc">
      <dgm:prSet loTypeId="urn:microsoft.com/office/officeart/2008/layout/LinedList" loCatId="list" qsTypeId="urn:microsoft.com/office/officeart/2005/8/quickstyle/simple2" qsCatId="simple" csTypeId="urn:microsoft.com/office/officeart/2005/8/colors/colorful1#4" csCatId="colorful" phldr="1"/>
      <dgm:spPr/>
      <dgm:t>
        <a:bodyPr/>
        <a:lstStyle/>
        <a:p>
          <a:endParaRPr lang="it-IT"/>
        </a:p>
      </dgm:t>
    </dgm:pt>
    <dgm:pt modelId="{860BC524-CB4E-449F-9E17-7331014936FF}">
      <dgm:prSet custT="1"/>
      <dgm:spPr/>
      <dgm:t>
        <a:bodyPr/>
        <a:lstStyle/>
        <a:p>
          <a:pPr algn="ctr" rtl="0"/>
          <a:endParaRPr lang="it-IT" sz="2000" b="1" dirty="0">
            <a:solidFill>
              <a:srgbClr val="6699FF"/>
            </a:solidFill>
            <a:effectLst/>
            <a:latin typeface="Calibri" panose="020F0502020204030204" pitchFamily="34" charset="0"/>
          </a:endParaRPr>
        </a:p>
      </dgm:t>
    </dgm:pt>
    <dgm:pt modelId="{B98F86BA-F3F4-4C34-B165-4B6B932634A0}" type="parTrans" cxnId="{212ADEFA-454E-41BA-8921-005ECD16AB2B}">
      <dgm:prSet/>
      <dgm:spPr/>
      <dgm:t>
        <a:bodyPr/>
        <a:lstStyle/>
        <a:p>
          <a:endParaRPr lang="it-IT"/>
        </a:p>
      </dgm:t>
    </dgm:pt>
    <dgm:pt modelId="{C507B813-22B7-43D7-8E81-8A689C2BA308}" type="sibTrans" cxnId="{212ADEFA-454E-41BA-8921-005ECD16AB2B}">
      <dgm:prSet/>
      <dgm:spPr/>
      <dgm:t>
        <a:bodyPr/>
        <a:lstStyle/>
        <a:p>
          <a:endParaRPr lang="it-IT"/>
        </a:p>
      </dgm:t>
    </dgm:pt>
    <dgm:pt modelId="{7AFBEA0D-DAB9-45D9-BB84-A5C85C2C81FD}" type="pres">
      <dgm:prSet presAssocID="{45A60A9E-F327-4D1B-A2A6-269D07F7FB5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E237AE75-85E6-437A-8B56-910DD27A4ECE}" type="pres">
      <dgm:prSet presAssocID="{860BC524-CB4E-449F-9E17-7331014936FF}" presName="thickLine" presStyleLbl="alignNode1" presStyleIdx="0" presStyleCnt="1"/>
      <dgm:spPr/>
      <dgm:t>
        <a:bodyPr/>
        <a:lstStyle/>
        <a:p>
          <a:endParaRPr lang="it-IT"/>
        </a:p>
      </dgm:t>
    </dgm:pt>
    <dgm:pt modelId="{E5B5E04E-FCAE-4ABC-802A-9826F4A5AD51}" type="pres">
      <dgm:prSet presAssocID="{860BC524-CB4E-449F-9E17-7331014936FF}" presName="horz1" presStyleCnt="0"/>
      <dgm:spPr/>
      <dgm:t>
        <a:bodyPr/>
        <a:lstStyle/>
        <a:p>
          <a:endParaRPr lang="it-IT"/>
        </a:p>
      </dgm:t>
    </dgm:pt>
    <dgm:pt modelId="{8D8CE0C5-97D0-41BA-B185-D747D53A47F7}" type="pres">
      <dgm:prSet presAssocID="{860BC524-CB4E-449F-9E17-7331014936FF}" presName="tx1" presStyleLbl="revTx" presStyleIdx="0" presStyleCnt="1"/>
      <dgm:spPr/>
      <dgm:t>
        <a:bodyPr/>
        <a:lstStyle/>
        <a:p>
          <a:endParaRPr lang="it-IT"/>
        </a:p>
      </dgm:t>
    </dgm:pt>
    <dgm:pt modelId="{FBFC497C-9F20-4F14-9A7A-F7BDED199D3F}" type="pres">
      <dgm:prSet presAssocID="{860BC524-CB4E-449F-9E17-7331014936FF}" presName="vert1" presStyleCnt="0"/>
      <dgm:spPr/>
      <dgm:t>
        <a:bodyPr/>
        <a:lstStyle/>
        <a:p>
          <a:endParaRPr lang="it-IT"/>
        </a:p>
      </dgm:t>
    </dgm:pt>
  </dgm:ptLst>
  <dgm:cxnLst>
    <dgm:cxn modelId="{212ADEFA-454E-41BA-8921-005ECD16AB2B}" srcId="{45A60A9E-F327-4D1B-A2A6-269D07F7FB51}" destId="{860BC524-CB4E-449F-9E17-7331014936FF}" srcOrd="0" destOrd="0" parTransId="{B98F86BA-F3F4-4C34-B165-4B6B932634A0}" sibTransId="{C507B813-22B7-43D7-8E81-8A689C2BA308}"/>
    <dgm:cxn modelId="{7C903A33-7E64-4F57-A773-AA3018BC8025}" type="presOf" srcId="{45A60A9E-F327-4D1B-A2A6-269D07F7FB51}" destId="{7AFBEA0D-DAB9-45D9-BB84-A5C85C2C81FD}" srcOrd="0" destOrd="0" presId="urn:microsoft.com/office/officeart/2008/layout/LinedList"/>
    <dgm:cxn modelId="{4195CBE7-0233-48DE-8D79-A516725C453E}" type="presOf" srcId="{860BC524-CB4E-449F-9E17-7331014936FF}" destId="{8D8CE0C5-97D0-41BA-B185-D747D53A47F7}" srcOrd="0" destOrd="0" presId="urn:microsoft.com/office/officeart/2008/layout/LinedList"/>
    <dgm:cxn modelId="{A50A74F1-7159-4245-AF54-B5F4D059814D}" type="presParOf" srcId="{7AFBEA0D-DAB9-45D9-BB84-A5C85C2C81FD}" destId="{E237AE75-85E6-437A-8B56-910DD27A4ECE}" srcOrd="0" destOrd="0" presId="urn:microsoft.com/office/officeart/2008/layout/LinedList"/>
    <dgm:cxn modelId="{74E7B1A0-CC1D-4E6E-9D0B-FBD7734C6123}" type="presParOf" srcId="{7AFBEA0D-DAB9-45D9-BB84-A5C85C2C81FD}" destId="{E5B5E04E-FCAE-4ABC-802A-9826F4A5AD51}" srcOrd="1" destOrd="0" presId="urn:microsoft.com/office/officeart/2008/layout/LinedList"/>
    <dgm:cxn modelId="{7142FEB5-297D-47B2-8FF3-3B45FCCB66D8}" type="presParOf" srcId="{E5B5E04E-FCAE-4ABC-802A-9826F4A5AD51}" destId="{8D8CE0C5-97D0-41BA-B185-D747D53A47F7}" srcOrd="0" destOrd="0" presId="urn:microsoft.com/office/officeart/2008/layout/LinedList"/>
    <dgm:cxn modelId="{76668234-5682-4016-9934-B994FE89B7EB}" type="presParOf" srcId="{E5B5E04E-FCAE-4ABC-802A-9826F4A5AD51}" destId="{FBFC497C-9F20-4F14-9A7A-F7BDED199D3F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25.xml><?xml version="1.0" encoding="utf-8"?>
<dgm:dataModel xmlns:dgm="http://schemas.openxmlformats.org/drawingml/2006/diagram" xmlns:a="http://schemas.openxmlformats.org/drawingml/2006/main">
  <dgm:ptLst>
    <dgm:pt modelId="{42186144-FFE2-4B4C-AF12-1C1BBA0FC559}" type="doc">
      <dgm:prSet loTypeId="urn:microsoft.com/office/officeart/2005/8/layout/hList7#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6CA20128-5E08-496E-A920-86907F555078}">
      <dgm:prSet custT="1"/>
      <dgm:spPr/>
      <dgm:t>
        <a:bodyPr/>
        <a:lstStyle/>
        <a:p>
          <a:pPr rtl="0"/>
          <a:endParaRPr lang="it-IT" sz="1400" b="1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r>
            <a:rPr lang="it-IT" sz="1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OPERTA E CONDIVISIONE DI UNA DISTINTIVA SPECIALIZZAZIONE REGIONALE</a:t>
          </a:r>
        </a:p>
        <a:p>
          <a:pPr rtl="0"/>
          <a:r>
            <a:rPr lang="it-IT" sz="1300" dirty="0" smtClean="0"/>
            <a:t>Lettura delle 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pecifiche caratteristiche del territorio</a:t>
          </a:r>
          <a:r>
            <a:rPr lang="it-IT" sz="1300" dirty="0" smtClean="0"/>
            <a:t> e 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cesso di </a:t>
          </a:r>
          <a:r>
            <a:rPr lang="it-IT" sz="13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mpowerment</a:t>
          </a:r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ei diversi attori regionali dell’innovazione. </a:t>
          </a:r>
          <a:endParaRPr lang="it-IT" sz="1300" dirty="0" smtClean="0"/>
        </a:p>
        <a:p>
          <a:pPr rtl="0"/>
          <a:r>
            <a:rPr lang="it-IT" sz="13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a RIS3 Sicilia intende l‘INNOVAZIONE come  un processo multidimensionale e altamente interattivo di collaborazione tra diversi attori</a:t>
          </a:r>
          <a:r>
            <a:rPr lang="it-IT" sz="1200" dirty="0" smtClean="0">
              <a:solidFill>
                <a:srgbClr val="FFFF00"/>
              </a:solidFill>
            </a:rPr>
            <a:t>.</a:t>
          </a:r>
          <a:endParaRPr lang="it-IT" sz="1200" dirty="0">
            <a:solidFill>
              <a:srgbClr val="FFFF00"/>
            </a:solidFill>
          </a:endParaRPr>
        </a:p>
      </dgm:t>
    </dgm:pt>
    <dgm:pt modelId="{7CBD2ED3-783F-4541-99BF-4BA1556DBE27}" type="parTrans" cxnId="{D5D9F402-F900-4A0C-9107-DD72A9CD00DE}">
      <dgm:prSet/>
      <dgm:spPr/>
      <dgm:t>
        <a:bodyPr/>
        <a:lstStyle/>
        <a:p>
          <a:endParaRPr lang="it-IT"/>
        </a:p>
      </dgm:t>
    </dgm:pt>
    <dgm:pt modelId="{1CF86E63-BA62-4814-9489-580DD8C545E3}" type="sibTrans" cxnId="{D5D9F402-F900-4A0C-9107-DD72A9CD00DE}">
      <dgm:prSet/>
      <dgm:spPr/>
      <dgm:t>
        <a:bodyPr/>
        <a:lstStyle/>
        <a:p>
          <a:endParaRPr lang="it-IT"/>
        </a:p>
      </dgm:t>
    </dgm:pt>
    <dgm:pt modelId="{D4902039-27C0-4D3A-A74A-9290BBD893AC}">
      <dgm:prSet custT="1"/>
      <dgm:spPr/>
      <dgm:t>
        <a:bodyPr/>
        <a:lstStyle/>
        <a:p>
          <a:pPr rtl="0"/>
          <a:endParaRPr lang="it-IT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endParaRPr lang="it-IT" sz="1400" b="1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rtl="0"/>
          <a:r>
            <a:rPr lang="it-IT" sz="1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IVIDUAZIONE DELLE LEVE CHE MUOVONO LO SVILUPPO</a:t>
          </a:r>
        </a:p>
        <a:p>
          <a:pPr rtl="0"/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uolo chiave delle cosiddette tecnologie chiave abilitanti (Key Enabling Technologies – KETs). </a:t>
          </a:r>
        </a:p>
        <a:p>
          <a:pPr rtl="0"/>
          <a:r>
            <a:rPr lang="it-IT" sz="13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peramento dell’approccio basato sul tradizionale sostegno ai settori produttivi e alla ricerca </a:t>
          </a:r>
        </a:p>
      </dgm:t>
    </dgm:pt>
    <dgm:pt modelId="{714AF09A-1DD3-4FDE-9976-CA8774F8EE4A}" type="parTrans" cxnId="{BC49537D-A416-4FF1-A6D7-B13EDBA13FDE}">
      <dgm:prSet/>
      <dgm:spPr/>
      <dgm:t>
        <a:bodyPr/>
        <a:lstStyle/>
        <a:p>
          <a:endParaRPr lang="it-IT"/>
        </a:p>
      </dgm:t>
    </dgm:pt>
    <dgm:pt modelId="{217B802C-3C62-41AD-B23D-E6E896B28174}" type="sibTrans" cxnId="{BC49537D-A416-4FF1-A6D7-B13EDBA13FDE}">
      <dgm:prSet/>
      <dgm:spPr/>
      <dgm:t>
        <a:bodyPr/>
        <a:lstStyle/>
        <a:p>
          <a:endParaRPr lang="it-IT"/>
        </a:p>
      </dgm:t>
    </dgm:pt>
    <dgm:pt modelId="{E9EB10EC-045A-4DD1-AFDE-A782BCB5EB67}" type="pres">
      <dgm:prSet presAssocID="{42186144-FFE2-4B4C-AF12-1C1BBA0FC55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10E4646-191B-46B4-8568-08679650E7AC}" type="pres">
      <dgm:prSet presAssocID="{42186144-FFE2-4B4C-AF12-1C1BBA0FC559}" presName="fgShape" presStyleLbl="fgShp" presStyleIdx="0" presStyleCnt="1" custScaleX="103557" custLinFactNeighborX="-1581" custLinFactNeighborY="41026"/>
      <dgm:spPr/>
      <dgm:t>
        <a:bodyPr/>
        <a:lstStyle/>
        <a:p>
          <a:endParaRPr lang="it-IT"/>
        </a:p>
      </dgm:t>
    </dgm:pt>
    <dgm:pt modelId="{DFC2DE49-C4F7-4402-A216-D281789B7AE7}" type="pres">
      <dgm:prSet presAssocID="{42186144-FFE2-4B4C-AF12-1C1BBA0FC559}" presName="linComp" presStyleCnt="0"/>
      <dgm:spPr/>
      <dgm:t>
        <a:bodyPr/>
        <a:lstStyle/>
        <a:p>
          <a:endParaRPr lang="it-IT"/>
        </a:p>
      </dgm:t>
    </dgm:pt>
    <dgm:pt modelId="{92876CD0-F994-48ED-B42D-962AEB407CB8}" type="pres">
      <dgm:prSet presAssocID="{6CA20128-5E08-496E-A920-86907F555078}" presName="compNode" presStyleCnt="0"/>
      <dgm:spPr/>
      <dgm:t>
        <a:bodyPr/>
        <a:lstStyle/>
        <a:p>
          <a:endParaRPr lang="it-IT"/>
        </a:p>
      </dgm:t>
    </dgm:pt>
    <dgm:pt modelId="{4893B85D-E7EC-43EB-AD43-BE75F7C562F8}" type="pres">
      <dgm:prSet presAssocID="{6CA20128-5E08-496E-A920-86907F555078}" presName="bkgdShape" presStyleLbl="node1" presStyleIdx="0" presStyleCnt="2"/>
      <dgm:spPr/>
      <dgm:t>
        <a:bodyPr/>
        <a:lstStyle/>
        <a:p>
          <a:endParaRPr lang="it-IT"/>
        </a:p>
      </dgm:t>
    </dgm:pt>
    <dgm:pt modelId="{E5DBC89C-9976-4F5E-AA0D-B2438C6DC041}" type="pres">
      <dgm:prSet presAssocID="{6CA20128-5E08-496E-A920-86907F555078}" presName="node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D06D6EC-9F90-42FE-B2C3-BCAA3343CE2A}" type="pres">
      <dgm:prSet presAssocID="{6CA20128-5E08-496E-A920-86907F555078}" presName="invisiNode" presStyleLbl="node1" presStyleIdx="0" presStyleCnt="2"/>
      <dgm:spPr/>
      <dgm:t>
        <a:bodyPr/>
        <a:lstStyle/>
        <a:p>
          <a:endParaRPr lang="it-IT"/>
        </a:p>
      </dgm:t>
    </dgm:pt>
    <dgm:pt modelId="{D45867DB-5E57-4321-B95F-EF177612117D}" type="pres">
      <dgm:prSet presAssocID="{6CA20128-5E08-496E-A920-86907F555078}" presName="imagNode" presStyleLbl="fgImgPlace1" presStyleIdx="0" presStyleCnt="2"/>
      <dgm:spPr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  <dgm:t>
        <a:bodyPr/>
        <a:lstStyle/>
        <a:p>
          <a:endParaRPr lang="it-IT"/>
        </a:p>
      </dgm:t>
    </dgm:pt>
    <dgm:pt modelId="{A4C0EED3-C0CF-4935-9B8F-10CA4F25283D}" type="pres">
      <dgm:prSet presAssocID="{1CF86E63-BA62-4814-9489-580DD8C545E3}" presName="sibTrans" presStyleLbl="sibTrans2D1" presStyleIdx="0" presStyleCnt="0"/>
      <dgm:spPr/>
      <dgm:t>
        <a:bodyPr/>
        <a:lstStyle/>
        <a:p>
          <a:endParaRPr lang="it-IT"/>
        </a:p>
      </dgm:t>
    </dgm:pt>
    <dgm:pt modelId="{6A5F5854-39DA-406F-B08D-D9D49CCAF460}" type="pres">
      <dgm:prSet presAssocID="{D4902039-27C0-4D3A-A74A-9290BBD893AC}" presName="compNode" presStyleCnt="0"/>
      <dgm:spPr/>
      <dgm:t>
        <a:bodyPr/>
        <a:lstStyle/>
        <a:p>
          <a:endParaRPr lang="it-IT"/>
        </a:p>
      </dgm:t>
    </dgm:pt>
    <dgm:pt modelId="{46D4FB9A-CA69-4FE6-AE01-D6BD5549E131}" type="pres">
      <dgm:prSet presAssocID="{D4902039-27C0-4D3A-A74A-9290BBD893AC}" presName="bkgdShape" presStyleLbl="node1" presStyleIdx="1" presStyleCnt="2" custLinFactNeighborX="1871"/>
      <dgm:spPr/>
      <dgm:t>
        <a:bodyPr/>
        <a:lstStyle/>
        <a:p>
          <a:endParaRPr lang="it-IT"/>
        </a:p>
      </dgm:t>
    </dgm:pt>
    <dgm:pt modelId="{8590A6B1-FBAE-48F8-9FBD-104522464602}" type="pres">
      <dgm:prSet presAssocID="{D4902039-27C0-4D3A-A74A-9290BBD893AC}" presName="node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2BD0F62-1430-4251-9367-F1817D788338}" type="pres">
      <dgm:prSet presAssocID="{D4902039-27C0-4D3A-A74A-9290BBD893AC}" presName="invisiNode" presStyleLbl="node1" presStyleIdx="1" presStyleCnt="2"/>
      <dgm:spPr/>
      <dgm:t>
        <a:bodyPr/>
        <a:lstStyle/>
        <a:p>
          <a:endParaRPr lang="it-IT"/>
        </a:p>
      </dgm:t>
    </dgm:pt>
    <dgm:pt modelId="{0884A0BC-1141-4228-BC39-52DFE7694685}" type="pres">
      <dgm:prSet presAssocID="{D4902039-27C0-4D3A-A74A-9290BBD893AC}" presName="imagNode" presStyleLbl="fgImgPlace1" presStyleIdx="1" presStyleCnt="2" custLinFactNeighborX="-402" custLinFactNeighborY="-205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  <dgm:t>
        <a:bodyPr/>
        <a:lstStyle/>
        <a:p>
          <a:endParaRPr lang="it-IT"/>
        </a:p>
      </dgm:t>
    </dgm:pt>
  </dgm:ptLst>
  <dgm:cxnLst>
    <dgm:cxn modelId="{560D25E5-B587-4DA2-917E-4CE4777E9F19}" type="presOf" srcId="{6CA20128-5E08-496E-A920-86907F555078}" destId="{4893B85D-E7EC-43EB-AD43-BE75F7C562F8}" srcOrd="0" destOrd="0" presId="urn:microsoft.com/office/officeart/2005/8/layout/hList7#1"/>
    <dgm:cxn modelId="{67C3B91C-287D-4C62-8FD5-D1D48321B0D0}" type="presOf" srcId="{6CA20128-5E08-496E-A920-86907F555078}" destId="{E5DBC89C-9976-4F5E-AA0D-B2438C6DC041}" srcOrd="1" destOrd="0" presId="urn:microsoft.com/office/officeart/2005/8/layout/hList7#1"/>
    <dgm:cxn modelId="{AE04FF19-7AD3-4B38-9424-20CEF8FEC4A7}" type="presOf" srcId="{42186144-FFE2-4B4C-AF12-1C1BBA0FC559}" destId="{E9EB10EC-045A-4DD1-AFDE-A782BCB5EB67}" srcOrd="0" destOrd="0" presId="urn:microsoft.com/office/officeart/2005/8/layout/hList7#1"/>
    <dgm:cxn modelId="{BC49537D-A416-4FF1-A6D7-B13EDBA13FDE}" srcId="{42186144-FFE2-4B4C-AF12-1C1BBA0FC559}" destId="{D4902039-27C0-4D3A-A74A-9290BBD893AC}" srcOrd="1" destOrd="0" parTransId="{714AF09A-1DD3-4FDE-9976-CA8774F8EE4A}" sibTransId="{217B802C-3C62-41AD-B23D-E6E896B28174}"/>
    <dgm:cxn modelId="{4941BCA6-20A0-445A-9810-07133346720A}" type="presOf" srcId="{D4902039-27C0-4D3A-A74A-9290BBD893AC}" destId="{46D4FB9A-CA69-4FE6-AE01-D6BD5549E131}" srcOrd="0" destOrd="0" presId="urn:microsoft.com/office/officeart/2005/8/layout/hList7#1"/>
    <dgm:cxn modelId="{55698C53-24D6-46AB-A0F7-AE9C526BF1D3}" type="presOf" srcId="{1CF86E63-BA62-4814-9489-580DD8C545E3}" destId="{A4C0EED3-C0CF-4935-9B8F-10CA4F25283D}" srcOrd="0" destOrd="0" presId="urn:microsoft.com/office/officeart/2005/8/layout/hList7#1"/>
    <dgm:cxn modelId="{A5A58C58-96E6-4CA5-8823-19D48DD92E8E}" type="presOf" srcId="{D4902039-27C0-4D3A-A74A-9290BBD893AC}" destId="{8590A6B1-FBAE-48F8-9FBD-104522464602}" srcOrd="1" destOrd="0" presId="urn:microsoft.com/office/officeart/2005/8/layout/hList7#1"/>
    <dgm:cxn modelId="{D5D9F402-F900-4A0C-9107-DD72A9CD00DE}" srcId="{42186144-FFE2-4B4C-AF12-1C1BBA0FC559}" destId="{6CA20128-5E08-496E-A920-86907F555078}" srcOrd="0" destOrd="0" parTransId="{7CBD2ED3-783F-4541-99BF-4BA1556DBE27}" sibTransId="{1CF86E63-BA62-4814-9489-580DD8C545E3}"/>
    <dgm:cxn modelId="{390F7DA3-C900-457F-90B8-30A752EDB714}" type="presParOf" srcId="{E9EB10EC-045A-4DD1-AFDE-A782BCB5EB67}" destId="{A10E4646-191B-46B4-8568-08679650E7AC}" srcOrd="0" destOrd="0" presId="urn:microsoft.com/office/officeart/2005/8/layout/hList7#1"/>
    <dgm:cxn modelId="{0B5EE51A-7BE9-48C1-A2DA-994FA0EBEE9B}" type="presParOf" srcId="{E9EB10EC-045A-4DD1-AFDE-A782BCB5EB67}" destId="{DFC2DE49-C4F7-4402-A216-D281789B7AE7}" srcOrd="1" destOrd="0" presId="urn:microsoft.com/office/officeart/2005/8/layout/hList7#1"/>
    <dgm:cxn modelId="{AD349FCC-CF8F-4533-962C-6C44F7D9F0FE}" type="presParOf" srcId="{DFC2DE49-C4F7-4402-A216-D281789B7AE7}" destId="{92876CD0-F994-48ED-B42D-962AEB407CB8}" srcOrd="0" destOrd="0" presId="urn:microsoft.com/office/officeart/2005/8/layout/hList7#1"/>
    <dgm:cxn modelId="{39A0CF3E-B314-4CFC-8A49-E4E2AB4D4110}" type="presParOf" srcId="{92876CD0-F994-48ED-B42D-962AEB407CB8}" destId="{4893B85D-E7EC-43EB-AD43-BE75F7C562F8}" srcOrd="0" destOrd="0" presId="urn:microsoft.com/office/officeart/2005/8/layout/hList7#1"/>
    <dgm:cxn modelId="{3969E28B-83C9-4EB7-BCEA-6BDCC3E94C49}" type="presParOf" srcId="{92876CD0-F994-48ED-B42D-962AEB407CB8}" destId="{E5DBC89C-9976-4F5E-AA0D-B2438C6DC041}" srcOrd="1" destOrd="0" presId="urn:microsoft.com/office/officeart/2005/8/layout/hList7#1"/>
    <dgm:cxn modelId="{06B79FD2-686E-40F3-9D87-2D9C2F29CB90}" type="presParOf" srcId="{92876CD0-F994-48ED-B42D-962AEB407CB8}" destId="{3D06D6EC-9F90-42FE-B2C3-BCAA3343CE2A}" srcOrd="2" destOrd="0" presId="urn:microsoft.com/office/officeart/2005/8/layout/hList7#1"/>
    <dgm:cxn modelId="{81AD9D16-2A60-428D-949F-FCA51E411EF2}" type="presParOf" srcId="{92876CD0-F994-48ED-B42D-962AEB407CB8}" destId="{D45867DB-5E57-4321-B95F-EF177612117D}" srcOrd="3" destOrd="0" presId="urn:microsoft.com/office/officeart/2005/8/layout/hList7#1"/>
    <dgm:cxn modelId="{CBBE90D3-04FF-4918-8E72-33B950949EE7}" type="presParOf" srcId="{DFC2DE49-C4F7-4402-A216-D281789B7AE7}" destId="{A4C0EED3-C0CF-4935-9B8F-10CA4F25283D}" srcOrd="1" destOrd="0" presId="urn:microsoft.com/office/officeart/2005/8/layout/hList7#1"/>
    <dgm:cxn modelId="{875EB885-FC40-4D98-B088-D0B1A414F966}" type="presParOf" srcId="{DFC2DE49-C4F7-4402-A216-D281789B7AE7}" destId="{6A5F5854-39DA-406F-B08D-D9D49CCAF460}" srcOrd="2" destOrd="0" presId="urn:microsoft.com/office/officeart/2005/8/layout/hList7#1"/>
    <dgm:cxn modelId="{201F4B93-8D35-4E7B-9337-7236C07261CC}" type="presParOf" srcId="{6A5F5854-39DA-406F-B08D-D9D49CCAF460}" destId="{46D4FB9A-CA69-4FE6-AE01-D6BD5549E131}" srcOrd="0" destOrd="0" presId="urn:microsoft.com/office/officeart/2005/8/layout/hList7#1"/>
    <dgm:cxn modelId="{25C15A2A-F65F-4934-B393-12F521FA695F}" type="presParOf" srcId="{6A5F5854-39DA-406F-B08D-D9D49CCAF460}" destId="{8590A6B1-FBAE-48F8-9FBD-104522464602}" srcOrd="1" destOrd="0" presId="urn:microsoft.com/office/officeart/2005/8/layout/hList7#1"/>
    <dgm:cxn modelId="{C859B63A-BC5B-4930-91B5-A8AA16BEAA43}" type="presParOf" srcId="{6A5F5854-39DA-406F-B08D-D9D49CCAF460}" destId="{02BD0F62-1430-4251-9367-F1817D788338}" srcOrd="2" destOrd="0" presId="urn:microsoft.com/office/officeart/2005/8/layout/hList7#1"/>
    <dgm:cxn modelId="{DA34834B-05EF-4869-B3A8-065E195915E1}" type="presParOf" srcId="{6A5F5854-39DA-406F-B08D-D9D49CCAF460}" destId="{0884A0BC-1141-4228-BC39-52DFE7694685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6.xml><?xml version="1.0" encoding="utf-8"?>
<dgm:dataModel xmlns:dgm="http://schemas.openxmlformats.org/drawingml/2006/diagram" xmlns:a="http://schemas.openxmlformats.org/drawingml/2006/main">
  <dgm:ptLst>
    <dgm:pt modelId="{1133BD60-A0CD-4E8D-AC30-5C3DF36BF3E5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71F8DB7C-EFD0-46BE-A725-23EE3A48AA0A}">
      <dgm:prSet custT="1"/>
      <dgm:spPr/>
      <dgm:t>
        <a:bodyPr/>
        <a:lstStyle/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8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AFFORZARE IL SISTEMA PRODUTTIVO REGIONALE </a:t>
          </a:r>
          <a:endParaRPr lang="it-IT" sz="1800" b="1" u="none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APPROCCIO MULTIDIMENSIONALE </a:t>
          </a:r>
        </a:p>
        <a:p>
          <a:pPr algn="just" rtl="0">
            <a:lnSpc>
              <a:spcPct val="90000"/>
            </a:lnSpc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Potenziamento del ruolo dei sistemi innovativi locali più performanti nel presidio di alcune KETs e al contempo </a:t>
          </a:r>
          <a:r>
            <a:rPr lang="it-IT" sz="1400" b="1" u="none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nalzamento del valore di mercato del tessuto produttivo tradizionale</a:t>
          </a: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 con le maggiori prospettive di riconversione competitiva e di ricaduta occupazionale.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 Infine, facilitare e supportare il processo di scoperta imprenditoriale favorendo l’incontro tra gli imprenditori anche emergenti e l’offerta di ricerca.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gm:t>
    </dgm:pt>
    <dgm:pt modelId="{72665B98-35CE-4159-B57B-2C79D078C4B0}" type="parTrans" cxnId="{04051AA8-6E1D-4B54-9175-C33BA9537F05}">
      <dgm:prSet/>
      <dgm:spPr/>
      <dgm:t>
        <a:bodyPr/>
        <a:lstStyle/>
        <a:p>
          <a:endParaRPr lang="it-IT"/>
        </a:p>
      </dgm:t>
    </dgm:pt>
    <dgm:pt modelId="{529BB60C-483B-4147-8D40-24F40A32CC2E}" type="sibTrans" cxnId="{04051AA8-6E1D-4B54-9175-C33BA9537F05}">
      <dgm:prSet/>
      <dgm:spPr/>
      <dgm:t>
        <a:bodyPr/>
        <a:lstStyle/>
        <a:p>
          <a:endParaRPr lang="it-IT"/>
        </a:p>
      </dgm:t>
    </dgm:pt>
    <dgm:pt modelId="{13F8570C-D407-4C9C-8203-DDBCD5D8C302}">
      <dgm:prSet custT="1"/>
      <dgm:spPr/>
      <dgm:t>
        <a:bodyPr/>
        <a:lstStyle/>
        <a:p>
          <a:pPr algn="just" rtl="0"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STENERE LA DIFFUSIONE DI SOLUZIONI E SERVIZI INNOVATIVI </a:t>
          </a:r>
        </a:p>
        <a:p>
          <a:pPr algn="just" rtl="0"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QUALITÀ DELLA VITA</a:t>
          </a:r>
        </a:p>
        <a:p>
          <a:pPr algn="just" rtl="0"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crementare ed innalzare la diffusione di servizi e soluzioni innovative volti a favorire l’innalzamento della qualità della vita nei luoghi in cui si manifestano bisogni sociali , economici ed ambientali insoddisfatti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. 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gm:t>
    </dgm:pt>
    <dgm:pt modelId="{7CBDB82A-2D40-4DDC-A622-290E8FFBAC5E}" type="parTrans" cxnId="{67541689-EF41-4D3C-85EB-3F24FD44137C}">
      <dgm:prSet/>
      <dgm:spPr/>
      <dgm:t>
        <a:bodyPr/>
        <a:lstStyle/>
        <a:p>
          <a:endParaRPr lang="it-IT"/>
        </a:p>
      </dgm:t>
    </dgm:pt>
    <dgm:pt modelId="{385923A6-D033-4E5B-96FB-50693EECBDC0}" type="sibTrans" cxnId="{67541689-EF41-4D3C-85EB-3F24FD44137C}">
      <dgm:prSet/>
      <dgm:spPr/>
      <dgm:t>
        <a:bodyPr/>
        <a:lstStyle/>
        <a:p>
          <a:endParaRPr lang="it-IT"/>
        </a:p>
      </dgm:t>
    </dgm:pt>
    <dgm:pt modelId="{A109F5AF-794C-47EB-97A9-F70D426F6B51}">
      <dgm:prSet custT="1"/>
      <dgm:spPr/>
      <dgm:t>
        <a:bodyPr/>
        <a:lstStyle/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it-IT" sz="16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MUOVERE LA PIÙ AMPIA DIFFUSIONE DELLA CULTURA DELL’INNOVAZIONE </a:t>
          </a: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CAPITALE UMANO</a:t>
          </a:r>
        </a:p>
        <a:p>
          <a:pPr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Ruolo abilitante del capitale umano mediante un’attività di formazione e informazione che con gli strumenti più adeguati coinvolga tutti i livelli della società, a partire dalla scuola sino ad arrivare alla pubblica amministrazione.</a:t>
          </a:r>
          <a:endParaRPr lang="it-IT" sz="14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</dgm:t>
    </dgm:pt>
    <dgm:pt modelId="{E6221F95-C69F-41D2-BC2B-D15F2EEA40CF}" type="parTrans" cxnId="{28A0B4C7-D68E-466C-A5FB-FB14E3C52305}">
      <dgm:prSet/>
      <dgm:spPr/>
      <dgm:t>
        <a:bodyPr/>
        <a:lstStyle/>
        <a:p>
          <a:endParaRPr lang="it-IT"/>
        </a:p>
      </dgm:t>
    </dgm:pt>
    <dgm:pt modelId="{39F52CEB-9C6C-4112-9932-5EB4A276AAEE}" type="sibTrans" cxnId="{28A0B4C7-D68E-466C-A5FB-FB14E3C52305}">
      <dgm:prSet/>
      <dgm:spPr/>
      <dgm:t>
        <a:bodyPr/>
        <a:lstStyle/>
        <a:p>
          <a:endParaRPr lang="it-IT"/>
        </a:p>
      </dgm:t>
    </dgm:pt>
    <dgm:pt modelId="{6D3BF0E0-A6D5-4B17-A3EB-39B4A26BDC2B}" type="pres">
      <dgm:prSet presAssocID="{1133BD60-A0CD-4E8D-AC30-5C3DF36BF3E5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CA8AEC78-038F-492A-B908-010D2113C521}" type="pres">
      <dgm:prSet presAssocID="{71F8DB7C-EFD0-46BE-A725-23EE3A48AA0A}" presName="comp" presStyleCnt="0"/>
      <dgm:spPr/>
    </dgm:pt>
    <dgm:pt modelId="{29168C89-C16B-4E9B-8797-A4838073953D}" type="pres">
      <dgm:prSet presAssocID="{71F8DB7C-EFD0-46BE-A725-23EE3A48AA0A}" presName="box" presStyleLbl="node1" presStyleIdx="0" presStyleCnt="3" custScaleY="116031"/>
      <dgm:spPr/>
      <dgm:t>
        <a:bodyPr/>
        <a:lstStyle/>
        <a:p>
          <a:endParaRPr lang="it-IT"/>
        </a:p>
      </dgm:t>
    </dgm:pt>
    <dgm:pt modelId="{56706EBC-49D7-45F7-BB65-A09CF00B3AFD}" type="pres">
      <dgm:prSet presAssocID="{71F8DB7C-EFD0-46BE-A725-23EE3A48AA0A}" presName="img" presStyleLbl="fgImgPlac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</dgm:spPr>
      <dgm:t>
        <a:bodyPr/>
        <a:lstStyle/>
        <a:p>
          <a:endParaRPr lang="it-IT"/>
        </a:p>
      </dgm:t>
    </dgm:pt>
    <dgm:pt modelId="{07DD0761-820B-4475-ABC4-7AF61419E48D}" type="pres">
      <dgm:prSet presAssocID="{71F8DB7C-EFD0-46BE-A725-23EE3A48AA0A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E80BCBB-55E6-42F0-946C-3E9CCC0E0E6F}" type="pres">
      <dgm:prSet presAssocID="{529BB60C-483B-4147-8D40-24F40A32CC2E}" presName="spacer" presStyleCnt="0"/>
      <dgm:spPr/>
    </dgm:pt>
    <dgm:pt modelId="{E0FFC190-9ED4-4CE4-B454-C00B62DD686C}" type="pres">
      <dgm:prSet presAssocID="{13F8570C-D407-4C9C-8203-DDBCD5D8C302}" presName="comp" presStyleCnt="0"/>
      <dgm:spPr/>
    </dgm:pt>
    <dgm:pt modelId="{DEF0A50A-EAFC-4B73-A2B3-D743262EC1EA}" type="pres">
      <dgm:prSet presAssocID="{13F8570C-D407-4C9C-8203-DDBCD5D8C302}" presName="box" presStyleLbl="node1" presStyleIdx="1" presStyleCnt="3"/>
      <dgm:spPr/>
      <dgm:t>
        <a:bodyPr/>
        <a:lstStyle/>
        <a:p>
          <a:endParaRPr lang="it-IT"/>
        </a:p>
      </dgm:t>
    </dgm:pt>
    <dgm:pt modelId="{14850E1F-B083-46EA-B8E5-E23BCE6F199B}" type="pres">
      <dgm:prSet presAssocID="{13F8570C-D407-4C9C-8203-DDBCD5D8C302}" presName="img" presStyleLbl="fgImgPlace1" presStyleIdx="1" presStyleCnt="3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</dgm:spPr>
    </dgm:pt>
    <dgm:pt modelId="{E934FE83-CA18-4800-8D6D-33DB6B5DCEC5}" type="pres">
      <dgm:prSet presAssocID="{13F8570C-D407-4C9C-8203-DDBCD5D8C302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13ADF44-2770-4D57-BF70-9ABFCFA72BD7}" type="pres">
      <dgm:prSet presAssocID="{385923A6-D033-4E5B-96FB-50693EECBDC0}" presName="spacer" presStyleCnt="0"/>
      <dgm:spPr/>
    </dgm:pt>
    <dgm:pt modelId="{010A942C-F660-4AE8-AA29-3AEEF53DB41B}" type="pres">
      <dgm:prSet presAssocID="{A109F5AF-794C-47EB-97A9-F70D426F6B51}" presName="comp" presStyleCnt="0"/>
      <dgm:spPr/>
    </dgm:pt>
    <dgm:pt modelId="{E58B2A6B-DCD5-4D44-B383-E5475A122E28}" type="pres">
      <dgm:prSet presAssocID="{A109F5AF-794C-47EB-97A9-F70D426F6B51}" presName="box" presStyleLbl="node1" presStyleIdx="2" presStyleCnt="3"/>
      <dgm:spPr/>
      <dgm:t>
        <a:bodyPr/>
        <a:lstStyle/>
        <a:p>
          <a:endParaRPr lang="it-IT"/>
        </a:p>
      </dgm:t>
    </dgm:pt>
    <dgm:pt modelId="{03CAC9C2-748F-4326-A0C0-01022A85A403}" type="pres">
      <dgm:prSet presAssocID="{A109F5AF-794C-47EB-97A9-F70D426F6B51}" presName="img" presStyleLbl="fgImgPlace1" presStyleIdx="2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95D74581-BBB4-4660-B949-2FEE5FB4CC0A}" type="pres">
      <dgm:prSet presAssocID="{A109F5AF-794C-47EB-97A9-F70D426F6B51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F72204C-7057-4E4C-B011-4746F83D2901}" type="presOf" srcId="{A109F5AF-794C-47EB-97A9-F70D426F6B51}" destId="{95D74581-BBB4-4660-B949-2FEE5FB4CC0A}" srcOrd="1" destOrd="0" presId="urn:microsoft.com/office/officeart/2005/8/layout/vList4#1"/>
    <dgm:cxn modelId="{4236AE49-0518-4158-AD19-5693EAAAE971}" type="presOf" srcId="{71F8DB7C-EFD0-46BE-A725-23EE3A48AA0A}" destId="{29168C89-C16B-4E9B-8797-A4838073953D}" srcOrd="0" destOrd="0" presId="urn:microsoft.com/office/officeart/2005/8/layout/vList4#1"/>
    <dgm:cxn modelId="{04051AA8-6E1D-4B54-9175-C33BA9537F05}" srcId="{1133BD60-A0CD-4E8D-AC30-5C3DF36BF3E5}" destId="{71F8DB7C-EFD0-46BE-A725-23EE3A48AA0A}" srcOrd="0" destOrd="0" parTransId="{72665B98-35CE-4159-B57B-2C79D078C4B0}" sibTransId="{529BB60C-483B-4147-8D40-24F40A32CC2E}"/>
    <dgm:cxn modelId="{B7781C4B-CFE2-4DC6-93C8-87F2BB784177}" type="presOf" srcId="{71F8DB7C-EFD0-46BE-A725-23EE3A48AA0A}" destId="{07DD0761-820B-4475-ABC4-7AF61419E48D}" srcOrd="1" destOrd="0" presId="urn:microsoft.com/office/officeart/2005/8/layout/vList4#1"/>
    <dgm:cxn modelId="{FC351617-4043-4886-8D70-2F4103812C29}" type="presOf" srcId="{1133BD60-A0CD-4E8D-AC30-5C3DF36BF3E5}" destId="{6D3BF0E0-A6D5-4B17-A3EB-39B4A26BDC2B}" srcOrd="0" destOrd="0" presId="urn:microsoft.com/office/officeart/2005/8/layout/vList4#1"/>
    <dgm:cxn modelId="{2E07F3D1-A76F-453A-9C49-98322C634CB2}" type="presOf" srcId="{13F8570C-D407-4C9C-8203-DDBCD5D8C302}" destId="{E934FE83-CA18-4800-8D6D-33DB6B5DCEC5}" srcOrd="1" destOrd="0" presId="urn:microsoft.com/office/officeart/2005/8/layout/vList4#1"/>
    <dgm:cxn modelId="{28A0B4C7-D68E-466C-A5FB-FB14E3C52305}" srcId="{1133BD60-A0CD-4E8D-AC30-5C3DF36BF3E5}" destId="{A109F5AF-794C-47EB-97A9-F70D426F6B51}" srcOrd="2" destOrd="0" parTransId="{E6221F95-C69F-41D2-BC2B-D15F2EEA40CF}" sibTransId="{39F52CEB-9C6C-4112-9932-5EB4A276AAEE}"/>
    <dgm:cxn modelId="{AEE3C053-171B-409A-99B2-A893A0C46538}" type="presOf" srcId="{A109F5AF-794C-47EB-97A9-F70D426F6B51}" destId="{E58B2A6B-DCD5-4D44-B383-E5475A122E28}" srcOrd="0" destOrd="0" presId="urn:microsoft.com/office/officeart/2005/8/layout/vList4#1"/>
    <dgm:cxn modelId="{67541689-EF41-4D3C-85EB-3F24FD44137C}" srcId="{1133BD60-A0CD-4E8D-AC30-5C3DF36BF3E5}" destId="{13F8570C-D407-4C9C-8203-DDBCD5D8C302}" srcOrd="1" destOrd="0" parTransId="{7CBDB82A-2D40-4DDC-A622-290E8FFBAC5E}" sibTransId="{385923A6-D033-4E5B-96FB-50693EECBDC0}"/>
    <dgm:cxn modelId="{B1AAEF5A-3D10-4D34-80EE-CAF67AABFD38}" type="presOf" srcId="{13F8570C-D407-4C9C-8203-DDBCD5D8C302}" destId="{DEF0A50A-EAFC-4B73-A2B3-D743262EC1EA}" srcOrd="0" destOrd="0" presId="urn:microsoft.com/office/officeart/2005/8/layout/vList4#1"/>
    <dgm:cxn modelId="{3A35CB00-D0F4-4073-96D8-F891453BCCEF}" type="presParOf" srcId="{6D3BF0E0-A6D5-4B17-A3EB-39B4A26BDC2B}" destId="{CA8AEC78-038F-492A-B908-010D2113C521}" srcOrd="0" destOrd="0" presId="urn:microsoft.com/office/officeart/2005/8/layout/vList4#1"/>
    <dgm:cxn modelId="{74269789-0E69-4653-8626-16CF020DDF59}" type="presParOf" srcId="{CA8AEC78-038F-492A-B908-010D2113C521}" destId="{29168C89-C16B-4E9B-8797-A4838073953D}" srcOrd="0" destOrd="0" presId="urn:microsoft.com/office/officeart/2005/8/layout/vList4#1"/>
    <dgm:cxn modelId="{5DC5FAE2-05A3-4A71-B0BA-B7C5ABA86012}" type="presParOf" srcId="{CA8AEC78-038F-492A-B908-010D2113C521}" destId="{56706EBC-49D7-45F7-BB65-A09CF00B3AFD}" srcOrd="1" destOrd="0" presId="urn:microsoft.com/office/officeart/2005/8/layout/vList4#1"/>
    <dgm:cxn modelId="{3616D13C-5864-4A16-91AA-93DD9A6BD3D6}" type="presParOf" srcId="{CA8AEC78-038F-492A-B908-010D2113C521}" destId="{07DD0761-820B-4475-ABC4-7AF61419E48D}" srcOrd="2" destOrd="0" presId="urn:microsoft.com/office/officeart/2005/8/layout/vList4#1"/>
    <dgm:cxn modelId="{DEB77DED-86F9-4929-8824-B7B234567864}" type="presParOf" srcId="{6D3BF0E0-A6D5-4B17-A3EB-39B4A26BDC2B}" destId="{7E80BCBB-55E6-42F0-946C-3E9CCC0E0E6F}" srcOrd="1" destOrd="0" presId="urn:microsoft.com/office/officeart/2005/8/layout/vList4#1"/>
    <dgm:cxn modelId="{CE5F6BB4-5AD7-4B92-A276-9CD0821615CB}" type="presParOf" srcId="{6D3BF0E0-A6D5-4B17-A3EB-39B4A26BDC2B}" destId="{E0FFC190-9ED4-4CE4-B454-C00B62DD686C}" srcOrd="2" destOrd="0" presId="urn:microsoft.com/office/officeart/2005/8/layout/vList4#1"/>
    <dgm:cxn modelId="{EE209C3F-3EE5-4E9F-B6BA-DAFA7B0ABDE8}" type="presParOf" srcId="{E0FFC190-9ED4-4CE4-B454-C00B62DD686C}" destId="{DEF0A50A-EAFC-4B73-A2B3-D743262EC1EA}" srcOrd="0" destOrd="0" presId="urn:microsoft.com/office/officeart/2005/8/layout/vList4#1"/>
    <dgm:cxn modelId="{79DC7A49-EABB-4C53-8306-3A6FA2C8DC8E}" type="presParOf" srcId="{E0FFC190-9ED4-4CE4-B454-C00B62DD686C}" destId="{14850E1F-B083-46EA-B8E5-E23BCE6F199B}" srcOrd="1" destOrd="0" presId="urn:microsoft.com/office/officeart/2005/8/layout/vList4#1"/>
    <dgm:cxn modelId="{38DC8D01-7E10-4491-AC0E-B6F887504366}" type="presParOf" srcId="{E0FFC190-9ED4-4CE4-B454-C00B62DD686C}" destId="{E934FE83-CA18-4800-8D6D-33DB6B5DCEC5}" srcOrd="2" destOrd="0" presId="urn:microsoft.com/office/officeart/2005/8/layout/vList4#1"/>
    <dgm:cxn modelId="{2EBA628E-5FAF-4FB7-B3B9-642A919DE5A5}" type="presParOf" srcId="{6D3BF0E0-A6D5-4B17-A3EB-39B4A26BDC2B}" destId="{813ADF44-2770-4D57-BF70-9ABFCFA72BD7}" srcOrd="3" destOrd="0" presId="urn:microsoft.com/office/officeart/2005/8/layout/vList4#1"/>
    <dgm:cxn modelId="{5D300A45-74C0-4534-8632-3389319DB4AB}" type="presParOf" srcId="{6D3BF0E0-A6D5-4B17-A3EB-39B4A26BDC2B}" destId="{010A942C-F660-4AE8-AA29-3AEEF53DB41B}" srcOrd="4" destOrd="0" presId="urn:microsoft.com/office/officeart/2005/8/layout/vList4#1"/>
    <dgm:cxn modelId="{B649AC7B-35AC-4100-A628-DB0FA00E5FC5}" type="presParOf" srcId="{010A942C-F660-4AE8-AA29-3AEEF53DB41B}" destId="{E58B2A6B-DCD5-4D44-B383-E5475A122E28}" srcOrd="0" destOrd="0" presId="urn:microsoft.com/office/officeart/2005/8/layout/vList4#1"/>
    <dgm:cxn modelId="{C691236B-59ED-4B9D-93FE-90A443CDE9CD}" type="presParOf" srcId="{010A942C-F660-4AE8-AA29-3AEEF53DB41B}" destId="{03CAC9C2-748F-4326-A0C0-01022A85A403}" srcOrd="1" destOrd="0" presId="urn:microsoft.com/office/officeart/2005/8/layout/vList4#1"/>
    <dgm:cxn modelId="{D13213CB-D47C-4742-A4DA-7D33936D3056}" type="presParOf" srcId="{010A942C-F660-4AE8-AA29-3AEEF53DB41B}" destId="{95D74581-BBB4-4660-B949-2FEE5FB4CC0A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7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7541236D-33DA-4BDF-AF20-8071C76C598F}" type="presOf" srcId="{83267C61-1508-43DC-B21B-6C4CC85B645F}" destId="{F2B40673-4C71-4A98-9339-977C54C5A9D5}" srcOrd="2" destOrd="0" presId="urn:microsoft.com/office/officeart/2005/8/layout/gear1"/>
    <dgm:cxn modelId="{643E8288-8088-4E8C-B1BF-1B2C75C15892}" type="presOf" srcId="{83267C61-1508-43DC-B21B-6C4CC85B645F}" destId="{A805CD41-67EA-4513-9E61-A8C3D66DFD07}" srcOrd="1" destOrd="0" presId="urn:microsoft.com/office/officeart/2005/8/layout/gear1"/>
    <dgm:cxn modelId="{F8739115-7AAA-43D0-8E6F-50AE3049B89C}" type="presOf" srcId="{83267C61-1508-43DC-B21B-6C4CC85B645F}" destId="{48AC5F59-43C7-463B-9C6A-CEA2081E1C1C}" srcOrd="0" destOrd="0" presId="urn:microsoft.com/office/officeart/2005/8/layout/gear1"/>
    <dgm:cxn modelId="{546DBA46-3E79-4528-80A0-E46D6D2AD2EF}" type="presOf" srcId="{DB8CAAE3-2297-43B6-A573-85B61E9001B2}" destId="{128F0A60-3FF4-4381-B2EE-759ED4374620}" srcOrd="2" destOrd="0" presId="urn:microsoft.com/office/officeart/2005/8/layout/gear1"/>
    <dgm:cxn modelId="{5612521D-A5D6-46F6-B730-5C119FC6C446}" type="presOf" srcId="{DB8CAAE3-2297-43B6-A573-85B61E9001B2}" destId="{2EE2CEB5-124D-44F5-9096-E7ECAF2F2101}" srcOrd="0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F7B50A0E-C7EA-4BF1-8D07-0DD90005CBAA}" type="presOf" srcId="{DB8CAAE3-2297-43B6-A573-85B61E9001B2}" destId="{3115EADC-B8B2-4B58-B882-7BA79A4C3E8C}" srcOrd="1" destOrd="0" presId="urn:microsoft.com/office/officeart/2005/8/layout/gear1"/>
    <dgm:cxn modelId="{765D8130-96A8-4E00-9C07-E4016CBECF66}" type="presOf" srcId="{D388EEC3-03C3-47A8-890B-2496F9CBA67B}" destId="{9C58820E-B88E-42EC-B94E-53580DE862F7}" srcOrd="0" destOrd="0" presId="urn:microsoft.com/office/officeart/2005/8/layout/gear1"/>
    <dgm:cxn modelId="{8E9A274D-D624-4FA3-A46E-4D0041BE6C91}" type="presOf" srcId="{4E4C1904-5B45-41CD-B782-D4F6DF3319A5}" destId="{271AF710-52C6-4140-9C37-87300CDE1B1A}" srcOrd="0" destOrd="0" presId="urn:microsoft.com/office/officeart/2005/8/layout/gear1"/>
    <dgm:cxn modelId="{65D53030-6C19-44B5-A730-7F4675B310CA}" type="presOf" srcId="{DD2A2349-D5E1-4B0B-BC4D-12DFD2A1F555}" destId="{04CEFBD9-3179-4291-917F-D814B58269B2}" srcOrd="0" destOrd="0" presId="urn:microsoft.com/office/officeart/2005/8/layout/gear1"/>
    <dgm:cxn modelId="{9C4F7B81-8BCA-420B-8AC2-4D61F4B7C4CC}" type="presParOf" srcId="{04CEFBD9-3179-4291-917F-D814B58269B2}" destId="{2EE2CEB5-124D-44F5-9096-E7ECAF2F2101}" srcOrd="0" destOrd="0" presId="urn:microsoft.com/office/officeart/2005/8/layout/gear1"/>
    <dgm:cxn modelId="{1A7EB44D-72A0-4EA8-93F2-7B633DA56B9D}" type="presParOf" srcId="{04CEFBD9-3179-4291-917F-D814B58269B2}" destId="{3115EADC-B8B2-4B58-B882-7BA79A4C3E8C}" srcOrd="1" destOrd="0" presId="urn:microsoft.com/office/officeart/2005/8/layout/gear1"/>
    <dgm:cxn modelId="{D4E4FEC9-8D28-4F08-9D51-A92FDAEBF34B}" type="presParOf" srcId="{04CEFBD9-3179-4291-917F-D814B58269B2}" destId="{128F0A60-3FF4-4381-B2EE-759ED4374620}" srcOrd="2" destOrd="0" presId="urn:microsoft.com/office/officeart/2005/8/layout/gear1"/>
    <dgm:cxn modelId="{850BBA51-6E4A-429D-92FF-A3A86B1465D2}" type="presParOf" srcId="{04CEFBD9-3179-4291-917F-D814B58269B2}" destId="{48AC5F59-43C7-463B-9C6A-CEA2081E1C1C}" srcOrd="3" destOrd="0" presId="urn:microsoft.com/office/officeart/2005/8/layout/gear1"/>
    <dgm:cxn modelId="{A4188C69-0014-48D0-A8B7-2A767B6170B9}" type="presParOf" srcId="{04CEFBD9-3179-4291-917F-D814B58269B2}" destId="{A805CD41-67EA-4513-9E61-A8C3D66DFD07}" srcOrd="4" destOrd="0" presId="urn:microsoft.com/office/officeart/2005/8/layout/gear1"/>
    <dgm:cxn modelId="{C045A4B9-6B92-49C3-9279-AB09AC26FBCE}" type="presParOf" srcId="{04CEFBD9-3179-4291-917F-D814B58269B2}" destId="{F2B40673-4C71-4A98-9339-977C54C5A9D5}" srcOrd="5" destOrd="0" presId="urn:microsoft.com/office/officeart/2005/8/layout/gear1"/>
    <dgm:cxn modelId="{993EE0A9-9155-4DC0-A167-3DF7FE5BA016}" type="presParOf" srcId="{04CEFBD9-3179-4291-917F-D814B58269B2}" destId="{9C58820E-B88E-42EC-B94E-53580DE862F7}" srcOrd="6" destOrd="0" presId="urn:microsoft.com/office/officeart/2005/8/layout/gear1"/>
    <dgm:cxn modelId="{D02EEB50-5DE6-4D5C-BD06-AC4F884CBEE5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8.xml><?xml version="1.0" encoding="utf-8"?>
<dgm:dataModel xmlns:dgm="http://schemas.openxmlformats.org/drawingml/2006/diagram" xmlns:a="http://schemas.openxmlformats.org/drawingml/2006/main">
  <dgm:ptLst>
    <dgm:pt modelId="{E63ACFB1-B77F-4015-9BED-EC30BF08F77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46B0764-5BD0-4874-96A3-55F283CF28ED}">
      <dgm:prSet/>
      <dgm:spPr>
        <a:solidFill>
          <a:srgbClr val="FFC000"/>
        </a:solidFill>
      </dgm:spPr>
      <dgm:t>
        <a:bodyPr/>
        <a:lstStyle/>
        <a:p>
          <a:pPr rtl="0"/>
          <a:r>
            <a:rPr lang="it-IT" dirty="0" smtClean="0"/>
            <a:t>Verso il PO FESR 2014-2020</a:t>
          </a:r>
          <a:endParaRPr lang="it-IT" dirty="0"/>
        </a:p>
      </dgm:t>
    </dgm:pt>
    <dgm:pt modelId="{B88FFC91-1F6F-4375-8676-72BE85B74A9B}" type="parTrans" cxnId="{EB38DD7B-3F2C-41A1-87E8-22B0F5F058E1}">
      <dgm:prSet/>
      <dgm:spPr/>
      <dgm:t>
        <a:bodyPr/>
        <a:lstStyle/>
        <a:p>
          <a:endParaRPr lang="it-IT"/>
        </a:p>
      </dgm:t>
    </dgm:pt>
    <dgm:pt modelId="{0F6C585C-BEAF-403B-BAC3-5E6D53278BED}" type="sibTrans" cxnId="{EB38DD7B-3F2C-41A1-87E8-22B0F5F058E1}">
      <dgm:prSet/>
      <dgm:spPr/>
      <dgm:t>
        <a:bodyPr/>
        <a:lstStyle/>
        <a:p>
          <a:endParaRPr lang="it-IT"/>
        </a:p>
      </dgm:t>
    </dgm:pt>
    <dgm:pt modelId="{42458090-426A-4F00-AD2D-8E2703041A28}" type="pres">
      <dgm:prSet presAssocID="{E63ACFB1-B77F-4015-9BED-EC30BF08F7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B318694-7D13-4394-9999-743EFAEC9488}" type="pres">
      <dgm:prSet presAssocID="{E46B0764-5BD0-4874-96A3-55F283CF28ED}" presName="parTxOnly" presStyleLbl="node1" presStyleIdx="0" presStyleCnt="1" custAng="0" custScaleX="41573" custLinFactNeighborX="187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DF1608D6-A92A-44FD-9967-13F6F499FA8E}" type="presOf" srcId="{E63ACFB1-B77F-4015-9BED-EC30BF08F771}" destId="{42458090-426A-4F00-AD2D-8E2703041A28}" srcOrd="0" destOrd="0" presId="urn:microsoft.com/office/officeart/2005/8/layout/hChevron3"/>
    <dgm:cxn modelId="{EB38DD7B-3F2C-41A1-87E8-22B0F5F058E1}" srcId="{E63ACFB1-B77F-4015-9BED-EC30BF08F771}" destId="{E46B0764-5BD0-4874-96A3-55F283CF28ED}" srcOrd="0" destOrd="0" parTransId="{B88FFC91-1F6F-4375-8676-72BE85B74A9B}" sibTransId="{0F6C585C-BEAF-403B-BAC3-5E6D53278BED}"/>
    <dgm:cxn modelId="{B50C85AA-5D7B-47BC-BF54-CAB887236B92}" type="presOf" srcId="{E46B0764-5BD0-4874-96A3-55F283CF28ED}" destId="{FB318694-7D13-4394-9999-743EFAEC9488}" srcOrd="0" destOrd="0" presId="urn:microsoft.com/office/officeart/2005/8/layout/hChevron3"/>
    <dgm:cxn modelId="{F178D5AC-F4C1-4192-8090-8ADA352DCDF2}" type="presParOf" srcId="{42458090-426A-4F00-AD2D-8E2703041A28}" destId="{FB318694-7D13-4394-9999-743EFAEC9488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9.xml><?xml version="1.0" encoding="utf-8"?>
<dgm:dataModel xmlns:dgm="http://schemas.openxmlformats.org/drawingml/2006/diagram" xmlns:a="http://schemas.openxmlformats.org/drawingml/2006/main">
  <dgm:ptLst>
    <dgm:pt modelId="{252B061F-DC74-4240-A22D-340AC33CDB23}" type="doc">
      <dgm:prSet loTypeId="urn:microsoft.com/office/officeart/2005/8/layout/arrow5" loCatId="process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it-IT"/>
        </a:p>
      </dgm:t>
    </dgm:pt>
    <dgm:pt modelId="{E3533255-2487-4939-A569-78B4AEF91D4F}">
      <dgm:prSet custT="1"/>
      <dgm:spPr/>
      <dgm:t>
        <a:bodyPr/>
        <a:lstStyle/>
        <a:p>
          <a:pPr algn="ctr"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“</a:t>
          </a:r>
          <a:r>
            <a:rPr lang="it-IT" sz="1400" b="1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ssion </a:t>
          </a:r>
          <a:r>
            <a:rPr lang="it-IT" sz="1400" b="1" i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</a:t>
          </a:r>
        </a:p>
      </dgm:t>
    </dgm:pt>
    <dgm:pt modelId="{E9969D0A-CDB0-4A59-BAAF-5BCC792EC7F5}" type="parTrans" cxnId="{FEBD9CE1-232E-4B6B-BCFC-F4C157473F17}">
      <dgm:prSet/>
      <dgm:spPr/>
      <dgm:t>
        <a:bodyPr/>
        <a:lstStyle/>
        <a:p>
          <a:endParaRPr lang="it-IT"/>
        </a:p>
      </dgm:t>
    </dgm:pt>
    <dgm:pt modelId="{1F2CE6AC-1A18-42D1-856B-F896BB37C72D}" type="sibTrans" cxnId="{FEBD9CE1-232E-4B6B-BCFC-F4C157473F17}">
      <dgm:prSet/>
      <dgm:spPr/>
      <dgm:t>
        <a:bodyPr/>
        <a:lstStyle/>
        <a:p>
          <a:endParaRPr lang="it-IT"/>
        </a:p>
      </dgm:t>
    </dgm:pt>
    <dgm:pt modelId="{303F95F6-F5B4-40BB-8507-7E1FAC1C1BC8}">
      <dgm:prSet custT="1"/>
      <dgm:spPr>
        <a:solidFill>
          <a:srgbClr val="00CC00"/>
        </a:solidFill>
      </dgm:spPr>
      <dgm:t>
        <a:bodyPr/>
        <a:lstStyle/>
        <a:p>
          <a:pPr algn="ctr"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“</a:t>
          </a:r>
          <a:r>
            <a:rPr lang="it-IT" sz="1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ffusion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it-IT" sz="1400" b="1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 </a:t>
          </a:r>
        </a:p>
      </dgm:t>
    </dgm:pt>
    <dgm:pt modelId="{36904EFC-AAA5-459F-9286-E893C56154D8}" type="parTrans" cxnId="{76B25262-B731-4339-AB89-7760519DD432}">
      <dgm:prSet/>
      <dgm:spPr/>
      <dgm:t>
        <a:bodyPr/>
        <a:lstStyle/>
        <a:p>
          <a:endParaRPr lang="it-IT"/>
        </a:p>
      </dgm:t>
    </dgm:pt>
    <dgm:pt modelId="{C7A8447A-1584-4E9F-AE0C-5D1D88E994A8}" type="sibTrans" cxnId="{76B25262-B731-4339-AB89-7760519DD432}">
      <dgm:prSet/>
      <dgm:spPr/>
      <dgm:t>
        <a:bodyPr/>
        <a:lstStyle/>
        <a:p>
          <a:endParaRPr lang="it-IT"/>
        </a:p>
      </dgm:t>
    </dgm:pt>
    <dgm:pt modelId="{B577C3AE-C2B3-4E15-8F77-7C00215FAFC2}" type="pres">
      <dgm:prSet presAssocID="{252B061F-DC74-4240-A22D-340AC33CDB2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711C825-4C01-4010-80E5-94DE88871CFE}" type="pres">
      <dgm:prSet presAssocID="{E3533255-2487-4939-A569-78B4AEF91D4F}" presName="arrow" presStyleLbl="node1" presStyleIdx="0" presStyleCnt="2" custScaleX="23337" custScaleY="100024" custRadScaleRad="106987" custRadScaleInc="543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BF43435-E534-4CA2-9BEB-93585D8D69F7}" type="pres">
      <dgm:prSet presAssocID="{303F95F6-F5B4-40BB-8507-7E1FAC1C1BC8}" presName="arrow" presStyleLbl="node1" presStyleIdx="1" presStyleCnt="2" custScaleX="24710" custScaleY="100024" custRadScaleRad="93679" custRadScaleInc="-683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51D9202-0BE0-47CA-A66D-C3C3441E2CB6}" type="presOf" srcId="{252B061F-DC74-4240-A22D-340AC33CDB23}" destId="{B577C3AE-C2B3-4E15-8F77-7C00215FAFC2}" srcOrd="0" destOrd="0" presId="urn:microsoft.com/office/officeart/2005/8/layout/arrow5"/>
    <dgm:cxn modelId="{720CBD9F-77DD-4BA1-9050-28A378FC3629}" type="presOf" srcId="{303F95F6-F5B4-40BB-8507-7E1FAC1C1BC8}" destId="{DBF43435-E534-4CA2-9BEB-93585D8D69F7}" srcOrd="0" destOrd="0" presId="urn:microsoft.com/office/officeart/2005/8/layout/arrow5"/>
    <dgm:cxn modelId="{76B25262-B731-4339-AB89-7760519DD432}" srcId="{252B061F-DC74-4240-A22D-340AC33CDB23}" destId="{303F95F6-F5B4-40BB-8507-7E1FAC1C1BC8}" srcOrd="1" destOrd="0" parTransId="{36904EFC-AAA5-459F-9286-E893C56154D8}" sibTransId="{C7A8447A-1584-4E9F-AE0C-5D1D88E994A8}"/>
    <dgm:cxn modelId="{FEBD9CE1-232E-4B6B-BCFC-F4C157473F17}" srcId="{252B061F-DC74-4240-A22D-340AC33CDB23}" destId="{E3533255-2487-4939-A569-78B4AEF91D4F}" srcOrd="0" destOrd="0" parTransId="{E9969D0A-CDB0-4A59-BAAF-5BCC792EC7F5}" sibTransId="{1F2CE6AC-1A18-42D1-856B-F896BB37C72D}"/>
    <dgm:cxn modelId="{0F41BD40-53A6-4B15-A3C1-21FB893549F5}" type="presOf" srcId="{E3533255-2487-4939-A569-78B4AEF91D4F}" destId="{6711C825-4C01-4010-80E5-94DE88871CFE}" srcOrd="0" destOrd="0" presId="urn:microsoft.com/office/officeart/2005/8/layout/arrow5"/>
    <dgm:cxn modelId="{357A95F8-0FFE-4C00-9499-DF32618AAF97}" type="presParOf" srcId="{B577C3AE-C2B3-4E15-8F77-7C00215FAFC2}" destId="{6711C825-4C01-4010-80E5-94DE88871CFE}" srcOrd="0" destOrd="0" presId="urn:microsoft.com/office/officeart/2005/8/layout/arrow5"/>
    <dgm:cxn modelId="{D8B38DAB-DFFD-4D8A-8B0A-0CDA7BDD3A55}" type="presParOf" srcId="{B577C3AE-C2B3-4E15-8F77-7C00215FAFC2}" destId="{DBF43435-E534-4CA2-9BEB-93585D8D69F7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Perché siamo qui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803BF4CE-3C3C-4D13-8E02-AEF108F6B537}" type="presOf" srcId="{2BF37BE0-F1C9-4327-8D6B-194C8F2CF94F}" destId="{7D920113-6D83-4974-923F-4CAA40CA2FDB}" srcOrd="0" destOrd="0" presId="urn:microsoft.com/office/officeart/2008/layout/LinedList"/>
    <dgm:cxn modelId="{F68306FD-B994-437E-8BB8-7AFBC2643AE6}" type="presOf" srcId="{37F295A9-2A2E-416D-9AE6-C3404377959E}" destId="{58FB0A67-F67A-40BA-890E-A840ED83B605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BB7E0671-5BC9-42EA-A51A-B4FB2F242B58}" type="presParOf" srcId="{58FB0A67-F67A-40BA-890E-A840ED83B605}" destId="{AB26EC88-0333-42E8-B340-C2B4FE18384A}" srcOrd="0" destOrd="0" presId="urn:microsoft.com/office/officeart/2008/layout/LinedList"/>
    <dgm:cxn modelId="{B5B1377E-D3BE-490B-955F-162C6F7CF8D8}" type="presParOf" srcId="{58FB0A67-F67A-40BA-890E-A840ED83B605}" destId="{45792684-4DE0-4EDD-B49A-A40AB3BD4B9E}" srcOrd="1" destOrd="0" presId="urn:microsoft.com/office/officeart/2008/layout/LinedList"/>
    <dgm:cxn modelId="{73999B88-B7CA-4DCB-AA82-D58EFE4747A8}" type="presParOf" srcId="{45792684-4DE0-4EDD-B49A-A40AB3BD4B9E}" destId="{7D920113-6D83-4974-923F-4CAA40CA2FDB}" srcOrd="0" destOrd="0" presId="urn:microsoft.com/office/officeart/2008/layout/LinedList"/>
    <dgm:cxn modelId="{CB864BC7-BE0F-48AC-B556-CDBA27EF66B0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0.xml><?xml version="1.0" encoding="utf-8"?>
<dgm:dataModel xmlns:dgm="http://schemas.openxmlformats.org/drawingml/2006/diagram" xmlns:a="http://schemas.openxmlformats.org/drawingml/2006/main">
  <dgm:ptLst>
    <dgm:pt modelId="{03CEE9D5-8004-4DC0-A475-3FC6F2F04938}" type="doc">
      <dgm:prSet loTypeId="urn:microsoft.com/office/officeart/2008/layout/SquareAccent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it-IT"/>
        </a:p>
      </dgm:t>
    </dgm:pt>
    <dgm:pt modelId="{4CC1C72D-FAEB-4E4A-A770-DEBD56EC4F70}">
      <dgm:prSet custT="1"/>
      <dgm:spPr/>
      <dgm:t>
        <a:bodyPr/>
        <a:lstStyle/>
        <a:p>
          <a:pPr algn="just" rtl="0"/>
          <a:r>
            <a:rPr lang="it-IT" sz="1600" b="1" dirty="0" smtClean="0">
              <a:solidFill>
                <a:schemeClr val="accent6">
                  <a:lumMod val="75000"/>
                </a:schemeClr>
              </a:solidFill>
            </a:rPr>
            <a:t>finalizzati ad un diffuso innesto di innovazioni, anche non di natura tecnologica, nel sistema economico e sociale e rivolti ad un’ampia platea di beneficiari </a:t>
          </a:r>
        </a:p>
        <a:p>
          <a:pPr algn="just" rtl="0"/>
          <a:endParaRPr lang="it-IT" sz="1600" b="1" dirty="0"/>
        </a:p>
      </dgm:t>
    </dgm:pt>
    <dgm:pt modelId="{7CDBA97F-9E0D-42CF-ABF2-6C558E7D55BB}" type="parTrans" cxnId="{4E7279C9-7D89-4B78-9A67-8BEB919FFDD2}">
      <dgm:prSet/>
      <dgm:spPr/>
      <dgm:t>
        <a:bodyPr/>
        <a:lstStyle/>
        <a:p>
          <a:endParaRPr lang="it-IT"/>
        </a:p>
      </dgm:t>
    </dgm:pt>
    <dgm:pt modelId="{6FC16ED2-2882-4421-B49D-F8EB891847AF}" type="sibTrans" cxnId="{4E7279C9-7D89-4B78-9A67-8BEB919FFDD2}">
      <dgm:prSet/>
      <dgm:spPr/>
      <dgm:t>
        <a:bodyPr/>
        <a:lstStyle/>
        <a:p>
          <a:endParaRPr lang="it-IT"/>
        </a:p>
      </dgm:t>
    </dgm:pt>
    <dgm:pt modelId="{BE443D71-E9B1-4826-B945-B9AEF9E42B73}" type="pres">
      <dgm:prSet presAssocID="{03CEE9D5-8004-4DC0-A475-3FC6F2F04938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0CD5EA9B-7E35-41AA-818A-950033BC2FED}" type="pres">
      <dgm:prSet presAssocID="{4CC1C72D-FAEB-4E4A-A770-DEBD56EC4F70}" presName="root" presStyleCnt="0">
        <dgm:presLayoutVars>
          <dgm:chMax/>
          <dgm:chPref/>
        </dgm:presLayoutVars>
      </dgm:prSet>
      <dgm:spPr/>
    </dgm:pt>
    <dgm:pt modelId="{DBF4ABFD-033D-425D-B852-1E74A50CB8C5}" type="pres">
      <dgm:prSet presAssocID="{4CC1C72D-FAEB-4E4A-A770-DEBD56EC4F70}" presName="rootComposite" presStyleCnt="0">
        <dgm:presLayoutVars/>
      </dgm:prSet>
      <dgm:spPr/>
    </dgm:pt>
    <dgm:pt modelId="{083E03EB-8615-4699-A45B-B57E780F0332}" type="pres">
      <dgm:prSet presAssocID="{4CC1C72D-FAEB-4E4A-A770-DEBD56EC4F70}" presName="ParentAccent" presStyleLbl="alignNode1" presStyleIdx="0" presStyleCnt="1"/>
      <dgm:spPr/>
    </dgm:pt>
    <dgm:pt modelId="{3B2C7311-6F60-41E3-801D-0A7CE5665F13}" type="pres">
      <dgm:prSet presAssocID="{4CC1C72D-FAEB-4E4A-A770-DEBD56EC4F70}" presName="ParentSmallAccent" presStyleLbl="fgAcc1" presStyleIdx="0" presStyleCnt="1"/>
      <dgm:spPr>
        <a:solidFill>
          <a:srgbClr val="33CC33">
            <a:alpha val="90000"/>
          </a:srgbClr>
        </a:solidFill>
      </dgm:spPr>
      <dgm:t>
        <a:bodyPr/>
        <a:lstStyle/>
        <a:p>
          <a:endParaRPr lang="it-IT"/>
        </a:p>
      </dgm:t>
    </dgm:pt>
    <dgm:pt modelId="{D3B3687A-029B-4B9E-A768-51742B3B318E}" type="pres">
      <dgm:prSet presAssocID="{4CC1C72D-FAEB-4E4A-A770-DEBD56EC4F70}" presName="Parent" presStyleLbl="revTx" presStyleIdx="0" presStyleCnt="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BC7B3CC-52C8-478E-9EDB-521E1034FD07}" type="pres">
      <dgm:prSet presAssocID="{4CC1C72D-FAEB-4E4A-A770-DEBD56EC4F70}" presName="childShape" presStyleCnt="0">
        <dgm:presLayoutVars>
          <dgm:chMax val="0"/>
          <dgm:chPref val="0"/>
        </dgm:presLayoutVars>
      </dgm:prSet>
      <dgm:spPr/>
    </dgm:pt>
  </dgm:ptLst>
  <dgm:cxnLst>
    <dgm:cxn modelId="{4E7279C9-7D89-4B78-9A67-8BEB919FFDD2}" srcId="{03CEE9D5-8004-4DC0-A475-3FC6F2F04938}" destId="{4CC1C72D-FAEB-4E4A-A770-DEBD56EC4F70}" srcOrd="0" destOrd="0" parTransId="{7CDBA97F-9E0D-42CF-ABF2-6C558E7D55BB}" sibTransId="{6FC16ED2-2882-4421-B49D-F8EB891847AF}"/>
    <dgm:cxn modelId="{5D830D73-6EE1-4003-AFB4-58626C230162}" type="presOf" srcId="{4CC1C72D-FAEB-4E4A-A770-DEBD56EC4F70}" destId="{D3B3687A-029B-4B9E-A768-51742B3B318E}" srcOrd="0" destOrd="0" presId="urn:microsoft.com/office/officeart/2008/layout/SquareAccentList"/>
    <dgm:cxn modelId="{118EEE13-6C58-4FE5-9B12-856660C055D8}" type="presOf" srcId="{03CEE9D5-8004-4DC0-A475-3FC6F2F04938}" destId="{BE443D71-E9B1-4826-B945-B9AEF9E42B73}" srcOrd="0" destOrd="0" presId="urn:microsoft.com/office/officeart/2008/layout/SquareAccentList"/>
    <dgm:cxn modelId="{713B9706-DB5A-4689-A6B0-2DD2ED13096E}" type="presParOf" srcId="{BE443D71-E9B1-4826-B945-B9AEF9E42B73}" destId="{0CD5EA9B-7E35-41AA-818A-950033BC2FED}" srcOrd="0" destOrd="0" presId="urn:microsoft.com/office/officeart/2008/layout/SquareAccentList"/>
    <dgm:cxn modelId="{C8E04C70-2518-47B5-83D2-AF57829AA6E1}" type="presParOf" srcId="{0CD5EA9B-7E35-41AA-818A-950033BC2FED}" destId="{DBF4ABFD-033D-425D-B852-1E74A50CB8C5}" srcOrd="0" destOrd="0" presId="urn:microsoft.com/office/officeart/2008/layout/SquareAccentList"/>
    <dgm:cxn modelId="{269270E7-C807-4BE6-ABEC-5A8F653905FC}" type="presParOf" srcId="{DBF4ABFD-033D-425D-B852-1E74A50CB8C5}" destId="{083E03EB-8615-4699-A45B-B57E780F0332}" srcOrd="0" destOrd="0" presId="urn:microsoft.com/office/officeart/2008/layout/SquareAccentList"/>
    <dgm:cxn modelId="{E7D608B0-56B8-46D8-8B77-7B145AAE13AF}" type="presParOf" srcId="{DBF4ABFD-033D-425D-B852-1E74A50CB8C5}" destId="{3B2C7311-6F60-41E3-801D-0A7CE5665F13}" srcOrd="1" destOrd="0" presId="urn:microsoft.com/office/officeart/2008/layout/SquareAccentList"/>
    <dgm:cxn modelId="{85C2ECEE-E299-4E68-B5AA-4D2489852139}" type="presParOf" srcId="{DBF4ABFD-033D-425D-B852-1E74A50CB8C5}" destId="{D3B3687A-029B-4B9E-A768-51742B3B318E}" srcOrd="2" destOrd="0" presId="urn:microsoft.com/office/officeart/2008/layout/SquareAccentList"/>
    <dgm:cxn modelId="{2F50ACF6-6BFC-4722-B911-C4FC51B39E39}" type="presParOf" srcId="{0CD5EA9B-7E35-41AA-818A-950033BC2FED}" destId="{CBC7B3CC-52C8-478E-9EDB-521E1034FD07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1.xml><?xml version="1.0" encoding="utf-8"?>
<dgm:dataModel xmlns:dgm="http://schemas.openxmlformats.org/drawingml/2006/diagram" xmlns:a="http://schemas.openxmlformats.org/drawingml/2006/main">
  <dgm:ptLst>
    <dgm:pt modelId="{FBCF1CB5-D42E-4059-B1D0-BE44D4B17212}" type="doc">
      <dgm:prSet loTypeId="urn:microsoft.com/office/officeart/2008/layout/SquareAccent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it-IT"/>
        </a:p>
      </dgm:t>
    </dgm:pt>
    <dgm:pt modelId="{C50E0AF5-3031-4EDA-B175-798CC21362AE}">
      <dgm:prSet/>
      <dgm:spPr/>
      <dgm:t>
        <a:bodyPr/>
        <a:lstStyle/>
        <a:p>
          <a:pPr algn="just" rtl="0"/>
          <a:r>
            <a:rPr lang="it-IT" b="1" dirty="0" smtClean="0">
              <a:solidFill>
                <a:schemeClr val="accent2"/>
              </a:solidFill>
            </a:rPr>
            <a:t>finalizzati al sostegno mirato a programmi ambiziosi di carattere strategico sotto il profilo dell’impatto sul contesto regionale</a:t>
          </a:r>
          <a:endParaRPr lang="it-IT" b="1" dirty="0">
            <a:solidFill>
              <a:schemeClr val="accent2"/>
            </a:solidFill>
          </a:endParaRPr>
        </a:p>
      </dgm:t>
    </dgm:pt>
    <dgm:pt modelId="{191394A3-EA3D-474E-AC1A-408ED8186BFF}" type="parTrans" cxnId="{1E78D72B-08D3-46BA-B7A0-3EA14F1018E1}">
      <dgm:prSet/>
      <dgm:spPr/>
      <dgm:t>
        <a:bodyPr/>
        <a:lstStyle/>
        <a:p>
          <a:endParaRPr lang="it-IT"/>
        </a:p>
      </dgm:t>
    </dgm:pt>
    <dgm:pt modelId="{79FD2D2A-7A21-4EBB-9F8F-63792777EDD4}" type="sibTrans" cxnId="{1E78D72B-08D3-46BA-B7A0-3EA14F1018E1}">
      <dgm:prSet/>
      <dgm:spPr/>
      <dgm:t>
        <a:bodyPr/>
        <a:lstStyle/>
        <a:p>
          <a:endParaRPr lang="it-IT"/>
        </a:p>
      </dgm:t>
    </dgm:pt>
    <dgm:pt modelId="{1BC6DDBE-EEA3-419A-B9D7-094F9E8B0E6A}" type="pres">
      <dgm:prSet presAssocID="{FBCF1CB5-D42E-4059-B1D0-BE44D4B17212}" presName="layout" presStyleCnt="0">
        <dgm:presLayoutVars>
          <dgm:chMax/>
          <dgm:chPref/>
          <dgm:dir/>
          <dgm:resizeHandles/>
        </dgm:presLayoutVars>
      </dgm:prSet>
      <dgm:spPr/>
      <dgm:t>
        <a:bodyPr/>
        <a:lstStyle/>
        <a:p>
          <a:endParaRPr lang="it-IT"/>
        </a:p>
      </dgm:t>
    </dgm:pt>
    <dgm:pt modelId="{C811D93E-2A42-4EBC-9230-FD8F17C1C8AC}" type="pres">
      <dgm:prSet presAssocID="{C50E0AF5-3031-4EDA-B175-798CC21362AE}" presName="root" presStyleCnt="0">
        <dgm:presLayoutVars>
          <dgm:chMax/>
          <dgm:chPref/>
        </dgm:presLayoutVars>
      </dgm:prSet>
      <dgm:spPr/>
    </dgm:pt>
    <dgm:pt modelId="{C91C54B4-1758-4214-B440-5B8C6FE421E7}" type="pres">
      <dgm:prSet presAssocID="{C50E0AF5-3031-4EDA-B175-798CC21362AE}" presName="rootComposite" presStyleCnt="0">
        <dgm:presLayoutVars/>
      </dgm:prSet>
      <dgm:spPr/>
    </dgm:pt>
    <dgm:pt modelId="{5F1D0415-9388-4E4F-9160-2793C0F671EE}" type="pres">
      <dgm:prSet presAssocID="{C50E0AF5-3031-4EDA-B175-798CC21362AE}" presName="ParentAccent" presStyleLbl="alignNode1" presStyleIdx="0" presStyleCnt="1"/>
      <dgm:spPr/>
    </dgm:pt>
    <dgm:pt modelId="{49E0879E-6F98-4834-B869-D3EE0F5BDB55}" type="pres">
      <dgm:prSet presAssocID="{C50E0AF5-3031-4EDA-B175-798CC21362AE}" presName="ParentSmallAccent" presStyleLbl="fgAcc1" presStyleIdx="0" presStyleCnt="1"/>
      <dgm:spPr>
        <a:solidFill>
          <a:schemeClr val="accent2">
            <a:alpha val="90000"/>
          </a:schemeClr>
        </a:solidFill>
      </dgm:spPr>
    </dgm:pt>
    <dgm:pt modelId="{83966723-4AA0-486E-A4AA-943FAAF5ED21}" type="pres">
      <dgm:prSet presAssocID="{C50E0AF5-3031-4EDA-B175-798CC21362AE}" presName="Parent" presStyleLbl="revTx" presStyleIdx="0" presStyleCnt="1">
        <dgm:presLayoutVars>
          <dgm:chMax/>
          <dgm:chPref val="4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F992286-5A4C-4907-87E5-3A9EFB506D24}" type="pres">
      <dgm:prSet presAssocID="{C50E0AF5-3031-4EDA-B175-798CC21362AE}" presName="childShape" presStyleCnt="0">
        <dgm:presLayoutVars>
          <dgm:chMax val="0"/>
          <dgm:chPref val="0"/>
        </dgm:presLayoutVars>
      </dgm:prSet>
      <dgm:spPr/>
    </dgm:pt>
  </dgm:ptLst>
  <dgm:cxnLst>
    <dgm:cxn modelId="{97E10FA7-BA09-4398-992A-05DFB43A0B90}" type="presOf" srcId="{C50E0AF5-3031-4EDA-B175-798CC21362AE}" destId="{83966723-4AA0-486E-A4AA-943FAAF5ED21}" srcOrd="0" destOrd="0" presId="urn:microsoft.com/office/officeart/2008/layout/SquareAccentList"/>
    <dgm:cxn modelId="{D0743B92-EC25-4564-8576-C098BA81C662}" type="presOf" srcId="{FBCF1CB5-D42E-4059-B1D0-BE44D4B17212}" destId="{1BC6DDBE-EEA3-419A-B9D7-094F9E8B0E6A}" srcOrd="0" destOrd="0" presId="urn:microsoft.com/office/officeart/2008/layout/SquareAccentList"/>
    <dgm:cxn modelId="{1E78D72B-08D3-46BA-B7A0-3EA14F1018E1}" srcId="{FBCF1CB5-D42E-4059-B1D0-BE44D4B17212}" destId="{C50E0AF5-3031-4EDA-B175-798CC21362AE}" srcOrd="0" destOrd="0" parTransId="{191394A3-EA3D-474E-AC1A-408ED8186BFF}" sibTransId="{79FD2D2A-7A21-4EBB-9F8F-63792777EDD4}"/>
    <dgm:cxn modelId="{72DFBB65-6B38-4C99-872D-8E7A5D87963B}" type="presParOf" srcId="{1BC6DDBE-EEA3-419A-B9D7-094F9E8B0E6A}" destId="{C811D93E-2A42-4EBC-9230-FD8F17C1C8AC}" srcOrd="0" destOrd="0" presId="urn:microsoft.com/office/officeart/2008/layout/SquareAccentList"/>
    <dgm:cxn modelId="{37928548-81D9-45B5-B5CD-CB0B47E8CBCF}" type="presParOf" srcId="{C811D93E-2A42-4EBC-9230-FD8F17C1C8AC}" destId="{C91C54B4-1758-4214-B440-5B8C6FE421E7}" srcOrd="0" destOrd="0" presId="urn:microsoft.com/office/officeart/2008/layout/SquareAccentList"/>
    <dgm:cxn modelId="{06E08515-8847-4A1D-8660-1D9A8843C7F5}" type="presParOf" srcId="{C91C54B4-1758-4214-B440-5B8C6FE421E7}" destId="{5F1D0415-9388-4E4F-9160-2793C0F671EE}" srcOrd="0" destOrd="0" presId="urn:microsoft.com/office/officeart/2008/layout/SquareAccentList"/>
    <dgm:cxn modelId="{51004F32-FD57-4CA9-9E9F-FFB9B8644374}" type="presParOf" srcId="{C91C54B4-1758-4214-B440-5B8C6FE421E7}" destId="{49E0879E-6F98-4834-B869-D3EE0F5BDB55}" srcOrd="1" destOrd="0" presId="urn:microsoft.com/office/officeart/2008/layout/SquareAccentList"/>
    <dgm:cxn modelId="{509FD12B-C4E1-42FE-8B15-13E74B9760F5}" type="presParOf" srcId="{C91C54B4-1758-4214-B440-5B8C6FE421E7}" destId="{83966723-4AA0-486E-A4AA-943FAAF5ED21}" srcOrd="2" destOrd="0" presId="urn:microsoft.com/office/officeart/2008/layout/SquareAccentList"/>
    <dgm:cxn modelId="{E6FD42F7-34A3-4CE8-9133-1BF8EBA6EEE1}" type="presParOf" srcId="{C811D93E-2A42-4EBC-9230-FD8F17C1C8AC}" destId="{2F992286-5A4C-4907-87E5-3A9EFB506D24}" srcOrd="1" destOrd="0" presId="urn:microsoft.com/office/officeart/2008/layout/SquareAccent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2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4E0ECFD4-BC30-4E9E-B347-91B28254FFA6}" type="presOf" srcId="{DB8CAAE3-2297-43B6-A573-85B61E9001B2}" destId="{2EE2CEB5-124D-44F5-9096-E7ECAF2F2101}" srcOrd="0" destOrd="0" presId="urn:microsoft.com/office/officeart/2005/8/layout/gear1"/>
    <dgm:cxn modelId="{C275777C-74AC-4460-AD72-178351261693}" type="presOf" srcId="{4E4C1904-5B45-41CD-B782-D4F6DF3319A5}" destId="{271AF710-52C6-4140-9C37-87300CDE1B1A}" srcOrd="0" destOrd="0" presId="urn:microsoft.com/office/officeart/2005/8/layout/gear1"/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FABD3F8C-BEAD-4000-8767-6C4A73972370}" type="presOf" srcId="{DB8CAAE3-2297-43B6-A573-85B61E9001B2}" destId="{3115EADC-B8B2-4B58-B882-7BA79A4C3E8C}" srcOrd="1" destOrd="0" presId="urn:microsoft.com/office/officeart/2005/8/layout/gear1"/>
    <dgm:cxn modelId="{BDA630C1-AE80-4183-B2ED-AC96A9CF8636}" type="presOf" srcId="{83267C61-1508-43DC-B21B-6C4CC85B645F}" destId="{F2B40673-4C71-4A98-9339-977C54C5A9D5}" srcOrd="2" destOrd="0" presId="urn:microsoft.com/office/officeart/2005/8/layout/gear1"/>
    <dgm:cxn modelId="{67D1AF13-26CC-451D-B23D-CC61789A7691}" type="presOf" srcId="{DD2A2349-D5E1-4B0B-BC4D-12DFD2A1F555}" destId="{04CEFBD9-3179-4291-917F-D814B58269B2}" srcOrd="0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683F70BC-B61B-46C6-A974-B672BD28DC1D}" type="presOf" srcId="{DB8CAAE3-2297-43B6-A573-85B61E9001B2}" destId="{128F0A60-3FF4-4381-B2EE-759ED4374620}" srcOrd="2" destOrd="0" presId="urn:microsoft.com/office/officeart/2005/8/layout/gear1"/>
    <dgm:cxn modelId="{189EE9BB-A768-4018-A42E-A8FF738A50BB}" type="presOf" srcId="{D388EEC3-03C3-47A8-890B-2496F9CBA67B}" destId="{9C58820E-B88E-42EC-B94E-53580DE862F7}" srcOrd="0" destOrd="0" presId="urn:microsoft.com/office/officeart/2005/8/layout/gear1"/>
    <dgm:cxn modelId="{482C1787-1F46-4E5B-8D4C-F550CAE8ED3F}" type="presOf" srcId="{83267C61-1508-43DC-B21B-6C4CC85B645F}" destId="{A805CD41-67EA-4513-9E61-A8C3D66DFD07}" srcOrd="1" destOrd="0" presId="urn:microsoft.com/office/officeart/2005/8/layout/gear1"/>
    <dgm:cxn modelId="{B0AEF800-BFF3-4614-B763-E3CD303D0F65}" type="presOf" srcId="{83267C61-1508-43DC-B21B-6C4CC85B645F}" destId="{48AC5F59-43C7-463B-9C6A-CEA2081E1C1C}" srcOrd="0" destOrd="0" presId="urn:microsoft.com/office/officeart/2005/8/layout/gear1"/>
    <dgm:cxn modelId="{458E73A3-7D2D-4357-80FD-F784193D65F4}" type="presParOf" srcId="{04CEFBD9-3179-4291-917F-D814B58269B2}" destId="{2EE2CEB5-124D-44F5-9096-E7ECAF2F2101}" srcOrd="0" destOrd="0" presId="urn:microsoft.com/office/officeart/2005/8/layout/gear1"/>
    <dgm:cxn modelId="{C855218E-9CF8-40ED-B523-E1F15E45BB87}" type="presParOf" srcId="{04CEFBD9-3179-4291-917F-D814B58269B2}" destId="{3115EADC-B8B2-4B58-B882-7BA79A4C3E8C}" srcOrd="1" destOrd="0" presId="urn:microsoft.com/office/officeart/2005/8/layout/gear1"/>
    <dgm:cxn modelId="{1171A64D-B096-4EDB-9FD1-54FCFA6F5B13}" type="presParOf" srcId="{04CEFBD9-3179-4291-917F-D814B58269B2}" destId="{128F0A60-3FF4-4381-B2EE-759ED4374620}" srcOrd="2" destOrd="0" presId="urn:microsoft.com/office/officeart/2005/8/layout/gear1"/>
    <dgm:cxn modelId="{23C1F448-E115-43AB-A43E-148696A73A4A}" type="presParOf" srcId="{04CEFBD9-3179-4291-917F-D814B58269B2}" destId="{48AC5F59-43C7-463B-9C6A-CEA2081E1C1C}" srcOrd="3" destOrd="0" presId="urn:microsoft.com/office/officeart/2005/8/layout/gear1"/>
    <dgm:cxn modelId="{85F15856-ABC8-4976-8DD6-21FA50AACE76}" type="presParOf" srcId="{04CEFBD9-3179-4291-917F-D814B58269B2}" destId="{A805CD41-67EA-4513-9E61-A8C3D66DFD07}" srcOrd="4" destOrd="0" presId="urn:microsoft.com/office/officeart/2005/8/layout/gear1"/>
    <dgm:cxn modelId="{3A7FD92D-FE27-4FD0-B71A-9CF261AF3FAB}" type="presParOf" srcId="{04CEFBD9-3179-4291-917F-D814B58269B2}" destId="{F2B40673-4C71-4A98-9339-977C54C5A9D5}" srcOrd="5" destOrd="0" presId="urn:microsoft.com/office/officeart/2005/8/layout/gear1"/>
    <dgm:cxn modelId="{4C930E31-6F5F-4CE8-8460-9FF0D5BEFBB3}" type="presParOf" srcId="{04CEFBD9-3179-4291-917F-D814B58269B2}" destId="{9C58820E-B88E-42EC-B94E-53580DE862F7}" srcOrd="6" destOrd="0" presId="urn:microsoft.com/office/officeart/2005/8/layout/gear1"/>
    <dgm:cxn modelId="{49AC9669-9AF0-4CE4-9C30-29403EBEAB51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3.xml><?xml version="1.0" encoding="utf-8"?>
<dgm:dataModel xmlns:dgm="http://schemas.openxmlformats.org/drawingml/2006/diagram" xmlns:a="http://schemas.openxmlformats.org/drawingml/2006/main">
  <dgm:ptLst>
    <dgm:pt modelId="{DD2A2349-D5E1-4B0B-BC4D-12DFD2A1F555}" type="doc">
      <dgm:prSet loTypeId="urn:microsoft.com/office/officeart/2005/8/layout/gear1" loCatId="relationship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it-IT"/>
        </a:p>
      </dgm:t>
    </dgm:pt>
    <dgm:pt modelId="{DB8CAAE3-2297-43B6-A573-85B61E9001B2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2237D9B8-7080-493B-9788-0BF61F2516A0}" type="parTrans" cxnId="{44DDB8E2-0EF3-4633-BF2B-E93BCCBAFA89}">
      <dgm:prSet/>
      <dgm:spPr/>
      <dgm:t>
        <a:bodyPr/>
        <a:lstStyle/>
        <a:p>
          <a:endParaRPr lang="it-IT"/>
        </a:p>
      </dgm:t>
    </dgm:pt>
    <dgm:pt modelId="{D388EEC3-03C3-47A8-890B-2496F9CBA67B}" type="sibTrans" cxnId="{44DDB8E2-0EF3-4633-BF2B-E93BCCBAFA89}">
      <dgm:prSet/>
      <dgm:spPr/>
      <dgm:t>
        <a:bodyPr/>
        <a:lstStyle/>
        <a:p>
          <a:endParaRPr lang="it-IT"/>
        </a:p>
      </dgm:t>
    </dgm:pt>
    <dgm:pt modelId="{83267C61-1508-43DC-B21B-6C4CC85B645F}">
      <dgm:prSet custT="1"/>
      <dgm:spPr/>
      <dgm:t>
        <a:bodyPr/>
        <a:lstStyle/>
        <a:p>
          <a:pPr rtl="0"/>
          <a:r>
            <a:rPr lang="it-IT" sz="1200" b="1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gm:t>
    </dgm:pt>
    <dgm:pt modelId="{68B8E43C-2B2E-4FE0-AE78-B902D4E2AAF2}" type="parTrans" cxnId="{073B4C41-417B-4F58-A495-297D90913EA8}">
      <dgm:prSet/>
      <dgm:spPr/>
      <dgm:t>
        <a:bodyPr/>
        <a:lstStyle/>
        <a:p>
          <a:endParaRPr lang="it-IT"/>
        </a:p>
      </dgm:t>
    </dgm:pt>
    <dgm:pt modelId="{4E4C1904-5B45-41CD-B782-D4F6DF3319A5}" type="sibTrans" cxnId="{073B4C41-417B-4F58-A495-297D90913EA8}">
      <dgm:prSet/>
      <dgm:spPr/>
      <dgm:t>
        <a:bodyPr/>
        <a:lstStyle/>
        <a:p>
          <a:endParaRPr lang="it-IT"/>
        </a:p>
      </dgm:t>
    </dgm:pt>
    <dgm:pt modelId="{04CEFBD9-3179-4291-917F-D814B58269B2}" type="pres">
      <dgm:prSet presAssocID="{DD2A2349-D5E1-4B0B-BC4D-12DFD2A1F555}" presName="composite" presStyleCnt="0">
        <dgm:presLayoutVars>
          <dgm:chMax val="3"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EE2CEB5-124D-44F5-9096-E7ECAF2F2101}" type="pres">
      <dgm:prSet presAssocID="{DB8CAAE3-2297-43B6-A573-85B61E9001B2}" presName="gear1" presStyleLbl="node1" presStyleIdx="0" presStyleCnt="2" custLinFactNeighborX="63389" custLinFactNeighborY="-17272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115EADC-B8B2-4B58-B882-7BA79A4C3E8C}" type="pres">
      <dgm:prSet presAssocID="{DB8CAAE3-2297-43B6-A573-85B61E9001B2}" presName="gear1srcNode" presStyleLbl="node1" presStyleIdx="0" presStyleCnt="2"/>
      <dgm:spPr/>
      <dgm:t>
        <a:bodyPr/>
        <a:lstStyle/>
        <a:p>
          <a:endParaRPr lang="it-IT"/>
        </a:p>
      </dgm:t>
    </dgm:pt>
    <dgm:pt modelId="{128F0A60-3FF4-4381-B2EE-759ED4374620}" type="pres">
      <dgm:prSet presAssocID="{DB8CAAE3-2297-43B6-A573-85B61E9001B2}" presName="gear1dstNode" presStyleLbl="node1" presStyleIdx="0" presStyleCnt="2"/>
      <dgm:spPr/>
      <dgm:t>
        <a:bodyPr/>
        <a:lstStyle/>
        <a:p>
          <a:endParaRPr lang="it-IT"/>
        </a:p>
      </dgm:t>
    </dgm:pt>
    <dgm:pt modelId="{48AC5F59-43C7-463B-9C6A-CEA2081E1C1C}" type="pres">
      <dgm:prSet presAssocID="{83267C61-1508-43DC-B21B-6C4CC85B645F}" presName="gear2" presStyleLbl="node1" presStyleIdx="1" presStyleCnt="2" custLinFactNeighborX="80598" custLinFactNeighborY="56111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05CD41-67EA-4513-9E61-A8C3D66DFD07}" type="pres">
      <dgm:prSet presAssocID="{83267C61-1508-43DC-B21B-6C4CC85B645F}" presName="gear2srcNode" presStyleLbl="node1" presStyleIdx="1" presStyleCnt="2"/>
      <dgm:spPr/>
      <dgm:t>
        <a:bodyPr/>
        <a:lstStyle/>
        <a:p>
          <a:endParaRPr lang="it-IT"/>
        </a:p>
      </dgm:t>
    </dgm:pt>
    <dgm:pt modelId="{F2B40673-4C71-4A98-9339-977C54C5A9D5}" type="pres">
      <dgm:prSet presAssocID="{83267C61-1508-43DC-B21B-6C4CC85B645F}" presName="gear2dstNode" presStyleLbl="node1" presStyleIdx="1" presStyleCnt="2"/>
      <dgm:spPr/>
      <dgm:t>
        <a:bodyPr/>
        <a:lstStyle/>
        <a:p>
          <a:endParaRPr lang="it-IT"/>
        </a:p>
      </dgm:t>
    </dgm:pt>
    <dgm:pt modelId="{9C58820E-B88E-42EC-B94E-53580DE862F7}" type="pres">
      <dgm:prSet presAssocID="{D388EEC3-03C3-47A8-890B-2496F9CBA67B}" presName="connector1" presStyleLbl="sibTrans2D1" presStyleIdx="0" presStyleCnt="2" custLinFactNeighborX="51535" custLinFactNeighborY="-14042"/>
      <dgm:spPr/>
      <dgm:t>
        <a:bodyPr/>
        <a:lstStyle/>
        <a:p>
          <a:endParaRPr lang="it-IT"/>
        </a:p>
      </dgm:t>
    </dgm:pt>
    <dgm:pt modelId="{271AF710-52C6-4140-9C37-87300CDE1B1A}" type="pres">
      <dgm:prSet presAssocID="{4E4C1904-5B45-41CD-B782-D4F6DF3319A5}" presName="connector2" presStyleLbl="sibTrans2D1" presStyleIdx="1" presStyleCnt="2" custLinFactNeighborX="62397" custLinFactNeighborY="52971"/>
      <dgm:spPr/>
      <dgm:t>
        <a:bodyPr/>
        <a:lstStyle/>
        <a:p>
          <a:endParaRPr lang="it-IT"/>
        </a:p>
      </dgm:t>
    </dgm:pt>
  </dgm:ptLst>
  <dgm:cxnLst>
    <dgm:cxn modelId="{23E32C69-6420-47FB-AE85-689AC1AE4B0B}" type="presOf" srcId="{83267C61-1508-43DC-B21B-6C4CC85B645F}" destId="{A805CD41-67EA-4513-9E61-A8C3D66DFD07}" srcOrd="1" destOrd="0" presId="urn:microsoft.com/office/officeart/2005/8/layout/gear1"/>
    <dgm:cxn modelId="{073B4C41-417B-4F58-A495-297D90913EA8}" srcId="{DD2A2349-D5E1-4B0B-BC4D-12DFD2A1F555}" destId="{83267C61-1508-43DC-B21B-6C4CC85B645F}" srcOrd="1" destOrd="0" parTransId="{68B8E43C-2B2E-4FE0-AE78-B902D4E2AAF2}" sibTransId="{4E4C1904-5B45-41CD-B782-D4F6DF3319A5}"/>
    <dgm:cxn modelId="{DACFBEBD-50A9-49BB-98A0-38B5D6C14356}" type="presOf" srcId="{DD2A2349-D5E1-4B0B-BC4D-12DFD2A1F555}" destId="{04CEFBD9-3179-4291-917F-D814B58269B2}" srcOrd="0" destOrd="0" presId="urn:microsoft.com/office/officeart/2005/8/layout/gear1"/>
    <dgm:cxn modelId="{02092E5C-F8F3-4E92-B794-47B221E34C7D}" type="presOf" srcId="{DB8CAAE3-2297-43B6-A573-85B61E9001B2}" destId="{3115EADC-B8B2-4B58-B882-7BA79A4C3E8C}" srcOrd="1" destOrd="0" presId="urn:microsoft.com/office/officeart/2005/8/layout/gear1"/>
    <dgm:cxn modelId="{8D165AA5-0FBE-4E06-9CEE-983AC98EE051}" type="presOf" srcId="{83267C61-1508-43DC-B21B-6C4CC85B645F}" destId="{48AC5F59-43C7-463B-9C6A-CEA2081E1C1C}" srcOrd="0" destOrd="0" presId="urn:microsoft.com/office/officeart/2005/8/layout/gear1"/>
    <dgm:cxn modelId="{6EB14E5C-A63D-4E71-B67F-A2E81E69C006}" type="presOf" srcId="{83267C61-1508-43DC-B21B-6C4CC85B645F}" destId="{F2B40673-4C71-4A98-9339-977C54C5A9D5}" srcOrd="2" destOrd="0" presId="urn:microsoft.com/office/officeart/2005/8/layout/gear1"/>
    <dgm:cxn modelId="{BC9BB4EE-5136-4B9F-AF86-E9D9E92054E7}" type="presOf" srcId="{DB8CAAE3-2297-43B6-A573-85B61E9001B2}" destId="{128F0A60-3FF4-4381-B2EE-759ED4374620}" srcOrd="2" destOrd="0" presId="urn:microsoft.com/office/officeart/2005/8/layout/gear1"/>
    <dgm:cxn modelId="{44DDB8E2-0EF3-4633-BF2B-E93BCCBAFA89}" srcId="{DD2A2349-D5E1-4B0B-BC4D-12DFD2A1F555}" destId="{DB8CAAE3-2297-43B6-A573-85B61E9001B2}" srcOrd="0" destOrd="0" parTransId="{2237D9B8-7080-493B-9788-0BF61F2516A0}" sibTransId="{D388EEC3-03C3-47A8-890B-2496F9CBA67B}"/>
    <dgm:cxn modelId="{A436D607-0D5F-44FD-92CB-DE3E9C6BD860}" type="presOf" srcId="{DB8CAAE3-2297-43B6-A573-85B61E9001B2}" destId="{2EE2CEB5-124D-44F5-9096-E7ECAF2F2101}" srcOrd="0" destOrd="0" presId="urn:microsoft.com/office/officeart/2005/8/layout/gear1"/>
    <dgm:cxn modelId="{48F0F12B-120C-4EC9-B00A-1DE6E30A3C41}" type="presOf" srcId="{D388EEC3-03C3-47A8-890B-2496F9CBA67B}" destId="{9C58820E-B88E-42EC-B94E-53580DE862F7}" srcOrd="0" destOrd="0" presId="urn:microsoft.com/office/officeart/2005/8/layout/gear1"/>
    <dgm:cxn modelId="{1BA71E4D-716C-40CC-BA3B-E74EF70CF7FE}" type="presOf" srcId="{4E4C1904-5B45-41CD-B782-D4F6DF3319A5}" destId="{271AF710-52C6-4140-9C37-87300CDE1B1A}" srcOrd="0" destOrd="0" presId="urn:microsoft.com/office/officeart/2005/8/layout/gear1"/>
    <dgm:cxn modelId="{C4742BC8-F07E-4988-B9E6-D1C6FFCF87F0}" type="presParOf" srcId="{04CEFBD9-3179-4291-917F-D814B58269B2}" destId="{2EE2CEB5-124D-44F5-9096-E7ECAF2F2101}" srcOrd="0" destOrd="0" presId="urn:microsoft.com/office/officeart/2005/8/layout/gear1"/>
    <dgm:cxn modelId="{6D26B15F-1A9E-4F8E-9ECC-CFF12ED91F4F}" type="presParOf" srcId="{04CEFBD9-3179-4291-917F-D814B58269B2}" destId="{3115EADC-B8B2-4B58-B882-7BA79A4C3E8C}" srcOrd="1" destOrd="0" presId="urn:microsoft.com/office/officeart/2005/8/layout/gear1"/>
    <dgm:cxn modelId="{0FCD8513-7CBB-453A-A936-C755CCB1A74E}" type="presParOf" srcId="{04CEFBD9-3179-4291-917F-D814B58269B2}" destId="{128F0A60-3FF4-4381-B2EE-759ED4374620}" srcOrd="2" destOrd="0" presId="urn:microsoft.com/office/officeart/2005/8/layout/gear1"/>
    <dgm:cxn modelId="{6D1EF928-513B-44C3-A401-1843F6AB4521}" type="presParOf" srcId="{04CEFBD9-3179-4291-917F-D814B58269B2}" destId="{48AC5F59-43C7-463B-9C6A-CEA2081E1C1C}" srcOrd="3" destOrd="0" presId="urn:microsoft.com/office/officeart/2005/8/layout/gear1"/>
    <dgm:cxn modelId="{CA41653D-AAA9-46E2-9E14-CC2A76727C98}" type="presParOf" srcId="{04CEFBD9-3179-4291-917F-D814B58269B2}" destId="{A805CD41-67EA-4513-9E61-A8C3D66DFD07}" srcOrd="4" destOrd="0" presId="urn:microsoft.com/office/officeart/2005/8/layout/gear1"/>
    <dgm:cxn modelId="{9D5DA511-6903-472D-99FF-49A2F884AAF8}" type="presParOf" srcId="{04CEFBD9-3179-4291-917F-D814B58269B2}" destId="{F2B40673-4C71-4A98-9339-977C54C5A9D5}" srcOrd="5" destOrd="0" presId="urn:microsoft.com/office/officeart/2005/8/layout/gear1"/>
    <dgm:cxn modelId="{8F282304-F70D-46D4-A964-80D29D8860EB}" type="presParOf" srcId="{04CEFBD9-3179-4291-917F-D814B58269B2}" destId="{9C58820E-B88E-42EC-B94E-53580DE862F7}" srcOrd="6" destOrd="0" presId="urn:microsoft.com/office/officeart/2005/8/layout/gear1"/>
    <dgm:cxn modelId="{21996EB9-F28B-4318-B320-1F1941ED3A8E}" type="presParOf" srcId="{04CEFBD9-3179-4291-917F-D814B58269B2}" destId="{271AF710-52C6-4140-9C37-87300CDE1B1A}" srcOrd="7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4.xml><?xml version="1.0" encoding="utf-8"?>
<dgm:dataModel xmlns:dgm="http://schemas.openxmlformats.org/drawingml/2006/diagram" xmlns:a="http://schemas.openxmlformats.org/drawingml/2006/main">
  <dgm:ptLst>
    <dgm:pt modelId="{E63ACFB1-B77F-4015-9BED-EC30BF08F77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E46B0764-5BD0-4874-96A3-55F283CF28ED}">
      <dgm:prSet/>
      <dgm:spPr>
        <a:solidFill>
          <a:srgbClr val="FFC000"/>
        </a:solidFill>
      </dgm:spPr>
      <dgm:t>
        <a:bodyPr/>
        <a:lstStyle/>
        <a:p>
          <a:pPr rtl="0"/>
          <a:r>
            <a:rPr lang="it-IT" dirty="0" smtClean="0"/>
            <a:t>Verso il PO FESR 2014-2020</a:t>
          </a:r>
          <a:endParaRPr lang="it-IT" dirty="0"/>
        </a:p>
      </dgm:t>
    </dgm:pt>
    <dgm:pt modelId="{B88FFC91-1F6F-4375-8676-72BE85B74A9B}" type="parTrans" cxnId="{EB38DD7B-3F2C-41A1-87E8-22B0F5F058E1}">
      <dgm:prSet/>
      <dgm:spPr/>
      <dgm:t>
        <a:bodyPr/>
        <a:lstStyle/>
        <a:p>
          <a:endParaRPr lang="it-IT"/>
        </a:p>
      </dgm:t>
    </dgm:pt>
    <dgm:pt modelId="{0F6C585C-BEAF-403B-BAC3-5E6D53278BED}" type="sibTrans" cxnId="{EB38DD7B-3F2C-41A1-87E8-22B0F5F058E1}">
      <dgm:prSet/>
      <dgm:spPr/>
      <dgm:t>
        <a:bodyPr/>
        <a:lstStyle/>
        <a:p>
          <a:endParaRPr lang="it-IT"/>
        </a:p>
      </dgm:t>
    </dgm:pt>
    <dgm:pt modelId="{42458090-426A-4F00-AD2D-8E2703041A28}" type="pres">
      <dgm:prSet presAssocID="{E63ACFB1-B77F-4015-9BED-EC30BF08F7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B318694-7D13-4394-9999-743EFAEC9488}" type="pres">
      <dgm:prSet presAssocID="{E46B0764-5BD0-4874-96A3-55F283CF28ED}" presName="parTxOnly" presStyleLbl="node1" presStyleIdx="0" presStyleCnt="1" custAng="0" custScaleX="41573" custLinFactNeighborX="18726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44441AA-BB98-4E25-98E3-740AAA684071}" type="presOf" srcId="{E46B0764-5BD0-4874-96A3-55F283CF28ED}" destId="{FB318694-7D13-4394-9999-743EFAEC9488}" srcOrd="0" destOrd="0" presId="urn:microsoft.com/office/officeart/2005/8/layout/hChevron3"/>
    <dgm:cxn modelId="{9FE17174-1BA4-45B3-B202-CF2BC07D7FAD}" type="presOf" srcId="{E63ACFB1-B77F-4015-9BED-EC30BF08F771}" destId="{42458090-426A-4F00-AD2D-8E2703041A28}" srcOrd="0" destOrd="0" presId="urn:microsoft.com/office/officeart/2005/8/layout/hChevron3"/>
    <dgm:cxn modelId="{EB38DD7B-3F2C-41A1-87E8-22B0F5F058E1}" srcId="{E63ACFB1-B77F-4015-9BED-EC30BF08F771}" destId="{E46B0764-5BD0-4874-96A3-55F283CF28ED}" srcOrd="0" destOrd="0" parTransId="{B88FFC91-1F6F-4375-8676-72BE85B74A9B}" sibTransId="{0F6C585C-BEAF-403B-BAC3-5E6D53278BED}"/>
    <dgm:cxn modelId="{AB742CE8-8696-40AE-ABD7-4D2BA3909106}" type="presParOf" srcId="{42458090-426A-4F00-AD2D-8E2703041A28}" destId="{FB318694-7D13-4394-9999-743EFAEC9488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5.xml><?xml version="1.0" encoding="utf-8"?>
<dgm:dataModel xmlns:dgm="http://schemas.openxmlformats.org/drawingml/2006/diagram" xmlns:a="http://schemas.openxmlformats.org/drawingml/2006/main">
  <dgm:ptLst>
    <dgm:pt modelId="{AE646E03-12A4-49CF-87FA-83F02809DA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3F18DF4-A7CB-4C68-84EF-BE7E4F9667D2}">
      <dgm:prSet custT="1"/>
      <dgm:spPr/>
      <dgm:t>
        <a:bodyPr/>
        <a:lstStyle/>
        <a:p>
          <a:pPr algn="ctr" rtl="0"/>
          <a:r>
            <a:rPr lang="it-IT" sz="1100" dirty="0" smtClean="0"/>
            <a:t>Mission Oriented </a:t>
          </a:r>
          <a:endParaRPr lang="it-IT" sz="1100" dirty="0"/>
        </a:p>
      </dgm:t>
    </dgm:pt>
    <dgm:pt modelId="{1A9E2F38-4905-4E72-9BAD-FC02BBD1C89D}" type="parTrans" cxnId="{3EB93381-CFDF-412D-BD0E-28EC38363155}">
      <dgm:prSet/>
      <dgm:spPr/>
      <dgm:t>
        <a:bodyPr/>
        <a:lstStyle/>
        <a:p>
          <a:endParaRPr lang="it-IT"/>
        </a:p>
      </dgm:t>
    </dgm:pt>
    <dgm:pt modelId="{53E7F729-0A4D-416F-AF8A-594714C3CE2E}" type="sibTrans" cxnId="{3EB93381-CFDF-412D-BD0E-28EC38363155}">
      <dgm:prSet/>
      <dgm:spPr/>
      <dgm:t>
        <a:bodyPr/>
        <a:lstStyle/>
        <a:p>
          <a:endParaRPr lang="it-IT"/>
        </a:p>
      </dgm:t>
    </dgm:pt>
    <dgm:pt modelId="{32EF67BB-7DDF-4EDE-983A-3F879EF25BB8}" type="pres">
      <dgm:prSet presAssocID="{AE646E03-12A4-49CF-87FA-83F02809DA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9145999-397C-4B26-80C5-A6DCCF277918}" type="pres">
      <dgm:prSet presAssocID="{83F18DF4-A7CB-4C68-84EF-BE7E4F9667D2}" presName="parentText" presStyleLbl="node1" presStyleIdx="0" presStyleCnt="1" custScaleY="19615" custLinFactNeighborX="-2180" custLinFactNeighborY="1217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2596E0C3-5DF5-485F-B904-A90ABC0B9AD2}" type="presOf" srcId="{83F18DF4-A7CB-4C68-84EF-BE7E4F9667D2}" destId="{49145999-397C-4B26-80C5-A6DCCF277918}" srcOrd="0" destOrd="0" presId="urn:microsoft.com/office/officeart/2005/8/layout/vList2"/>
    <dgm:cxn modelId="{9E82A6A4-844D-4438-9D7E-0E0FD06BDA9F}" type="presOf" srcId="{AE646E03-12A4-49CF-87FA-83F02809DAAE}" destId="{32EF67BB-7DDF-4EDE-983A-3F879EF25BB8}" srcOrd="0" destOrd="0" presId="urn:microsoft.com/office/officeart/2005/8/layout/vList2"/>
    <dgm:cxn modelId="{3EB93381-CFDF-412D-BD0E-28EC38363155}" srcId="{AE646E03-12A4-49CF-87FA-83F02809DAAE}" destId="{83F18DF4-A7CB-4C68-84EF-BE7E4F9667D2}" srcOrd="0" destOrd="0" parTransId="{1A9E2F38-4905-4E72-9BAD-FC02BBD1C89D}" sibTransId="{53E7F729-0A4D-416F-AF8A-594714C3CE2E}"/>
    <dgm:cxn modelId="{9F631AFC-B5AF-4488-80D9-1BD9CECA24F6}" type="presParOf" srcId="{32EF67BB-7DDF-4EDE-983A-3F879EF25BB8}" destId="{49145999-397C-4B26-80C5-A6DCCF2779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6.xml><?xml version="1.0" encoding="utf-8"?>
<dgm:dataModel xmlns:dgm="http://schemas.openxmlformats.org/drawingml/2006/diagram" xmlns:a="http://schemas.openxmlformats.org/drawingml/2006/main">
  <dgm:ptLst>
    <dgm:pt modelId="{AE646E03-12A4-49CF-87FA-83F02809DAA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83F18DF4-A7CB-4C68-84EF-BE7E4F9667D2}">
      <dgm:prSet custT="1"/>
      <dgm:spPr/>
      <dgm:t>
        <a:bodyPr/>
        <a:lstStyle/>
        <a:p>
          <a:pPr algn="ctr" rtl="0"/>
          <a:r>
            <a:rPr lang="it-IT" sz="1100" dirty="0" smtClean="0"/>
            <a:t>Diffusion  Oriented </a:t>
          </a:r>
          <a:endParaRPr lang="it-IT" sz="1100" dirty="0"/>
        </a:p>
      </dgm:t>
    </dgm:pt>
    <dgm:pt modelId="{1A9E2F38-4905-4E72-9BAD-FC02BBD1C89D}" type="parTrans" cxnId="{3EB93381-CFDF-412D-BD0E-28EC38363155}">
      <dgm:prSet/>
      <dgm:spPr/>
      <dgm:t>
        <a:bodyPr/>
        <a:lstStyle/>
        <a:p>
          <a:endParaRPr lang="it-IT"/>
        </a:p>
      </dgm:t>
    </dgm:pt>
    <dgm:pt modelId="{53E7F729-0A4D-416F-AF8A-594714C3CE2E}" type="sibTrans" cxnId="{3EB93381-CFDF-412D-BD0E-28EC38363155}">
      <dgm:prSet/>
      <dgm:spPr/>
      <dgm:t>
        <a:bodyPr/>
        <a:lstStyle/>
        <a:p>
          <a:endParaRPr lang="it-IT"/>
        </a:p>
      </dgm:t>
    </dgm:pt>
    <dgm:pt modelId="{32EF67BB-7DDF-4EDE-983A-3F879EF25BB8}" type="pres">
      <dgm:prSet presAssocID="{AE646E03-12A4-49CF-87FA-83F02809DAA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9145999-397C-4B26-80C5-A6DCCF277918}" type="pres">
      <dgm:prSet presAssocID="{83F18DF4-A7CB-4C68-84EF-BE7E4F9667D2}" presName="parentText" presStyleLbl="node1" presStyleIdx="0" presStyleCnt="1" custScaleY="19615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0DF864B-9369-47B6-A681-B6D90A781A51}" type="presOf" srcId="{83F18DF4-A7CB-4C68-84EF-BE7E4F9667D2}" destId="{49145999-397C-4B26-80C5-A6DCCF277918}" srcOrd="0" destOrd="0" presId="urn:microsoft.com/office/officeart/2005/8/layout/vList2"/>
    <dgm:cxn modelId="{3EB93381-CFDF-412D-BD0E-28EC38363155}" srcId="{AE646E03-12A4-49CF-87FA-83F02809DAAE}" destId="{83F18DF4-A7CB-4C68-84EF-BE7E4F9667D2}" srcOrd="0" destOrd="0" parTransId="{1A9E2F38-4905-4E72-9BAD-FC02BBD1C89D}" sibTransId="{53E7F729-0A4D-416F-AF8A-594714C3CE2E}"/>
    <dgm:cxn modelId="{A5281FA9-EA34-4C56-83F6-BA9BEA01B162}" type="presOf" srcId="{AE646E03-12A4-49CF-87FA-83F02809DAAE}" destId="{32EF67BB-7DDF-4EDE-983A-3F879EF25BB8}" srcOrd="0" destOrd="0" presId="urn:microsoft.com/office/officeart/2005/8/layout/vList2"/>
    <dgm:cxn modelId="{7FFC2810-7993-4A41-8C90-7CB7A997AD67}" type="presParOf" srcId="{32EF67BB-7DDF-4EDE-983A-3F879EF25BB8}" destId="{49145999-397C-4B26-80C5-A6DCCF27791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37.xml><?xml version="1.0" encoding="utf-8"?>
<dgm:dataModel xmlns:dgm="http://schemas.openxmlformats.org/drawingml/2006/diagram" xmlns:a="http://schemas.openxmlformats.org/drawingml/2006/main">
  <dgm:ptLst>
    <dgm:pt modelId="{39FD4E34-C18B-4E55-8F13-FC6F8AE5828C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CEA299AD-D349-496E-B78D-D831922BCD2A}">
      <dgm:prSet/>
      <dgm:spPr/>
      <dgm:t>
        <a:bodyPr/>
        <a:lstStyle/>
        <a:p>
          <a:pPr rtl="0"/>
          <a:r>
            <a:rPr lang="it-IT" dirty="0" smtClean="0"/>
            <a:t>Rafforzamento competenze scientifiche e produttive legate alle KETs </a:t>
          </a:r>
          <a:endParaRPr lang="it-IT" dirty="0"/>
        </a:p>
      </dgm:t>
    </dgm:pt>
    <dgm:pt modelId="{72D864ED-69E8-4DFB-A5A3-B6CA65F6F973}" type="parTrans" cxnId="{98EC2005-1324-4336-9361-1A1643668FC3}">
      <dgm:prSet/>
      <dgm:spPr/>
      <dgm:t>
        <a:bodyPr/>
        <a:lstStyle/>
        <a:p>
          <a:endParaRPr lang="it-IT"/>
        </a:p>
      </dgm:t>
    </dgm:pt>
    <dgm:pt modelId="{79CCDDF6-46B0-4D22-A120-BE39E4E04BB0}" type="sibTrans" cxnId="{98EC2005-1324-4336-9361-1A1643668FC3}">
      <dgm:prSet/>
      <dgm:spPr/>
      <dgm:t>
        <a:bodyPr/>
        <a:lstStyle/>
        <a:p>
          <a:endParaRPr lang="it-IT"/>
        </a:p>
      </dgm:t>
    </dgm:pt>
    <dgm:pt modelId="{BABB195B-5594-48DA-90AD-E0F073F4596F}" type="pres">
      <dgm:prSet presAssocID="{39FD4E34-C18B-4E55-8F13-FC6F8AE5828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77FC795-A476-4946-BE97-EF1BF71309EC}" type="pres">
      <dgm:prSet presAssocID="{CEA299AD-D349-496E-B78D-D831922BCD2A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3DDE32B-8DAE-4D66-AB22-C38F2D43EBD6}" type="presOf" srcId="{39FD4E34-C18B-4E55-8F13-FC6F8AE5828C}" destId="{BABB195B-5594-48DA-90AD-E0F073F4596F}" srcOrd="0" destOrd="0" presId="urn:microsoft.com/office/officeart/2005/8/layout/vList2"/>
    <dgm:cxn modelId="{98EC2005-1324-4336-9361-1A1643668FC3}" srcId="{39FD4E34-C18B-4E55-8F13-FC6F8AE5828C}" destId="{CEA299AD-D349-496E-B78D-D831922BCD2A}" srcOrd="0" destOrd="0" parTransId="{72D864ED-69E8-4DFB-A5A3-B6CA65F6F973}" sibTransId="{79CCDDF6-46B0-4D22-A120-BE39E4E04BB0}"/>
    <dgm:cxn modelId="{463FC267-3956-43D1-84C1-EF82FCE7D058}" type="presOf" srcId="{CEA299AD-D349-496E-B78D-D831922BCD2A}" destId="{677FC795-A476-4946-BE97-EF1BF71309EC}" srcOrd="0" destOrd="0" presId="urn:microsoft.com/office/officeart/2005/8/layout/vList2"/>
    <dgm:cxn modelId="{35172DFC-8FA1-4BE4-B892-25EA842BAF4E}" type="presParOf" srcId="{BABB195B-5594-48DA-90AD-E0F073F4596F}" destId="{677FC795-A476-4946-BE97-EF1BF71309E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38.xml><?xml version="1.0" encoding="utf-8"?>
<dgm:dataModel xmlns:dgm="http://schemas.openxmlformats.org/drawingml/2006/diagram" xmlns:a="http://schemas.openxmlformats.org/drawingml/2006/main">
  <dgm:ptLst>
    <dgm:pt modelId="{FF2A952B-8B1F-4A81-95B2-FE6D0C93768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5131F6F2-53E2-47D7-B836-76B41ADD98CC}">
      <dgm:prSet/>
      <dgm:spPr/>
      <dgm:t>
        <a:bodyPr/>
        <a:lstStyle/>
        <a:p>
          <a:pPr rtl="0"/>
          <a:r>
            <a:rPr lang="it-IT" dirty="0" smtClean="0"/>
            <a:t>Applicazioni delle KET s ai settori esistenti con maggiori potenzialità di sviluppo competitivo</a:t>
          </a:r>
          <a:endParaRPr lang="it-IT" dirty="0"/>
        </a:p>
      </dgm:t>
    </dgm:pt>
    <dgm:pt modelId="{CFE3FBC7-C9FB-4FB5-909B-C511C68BEA7F}" type="parTrans" cxnId="{4DD85B7B-C9AF-4EF5-9890-671A5EED9641}">
      <dgm:prSet/>
      <dgm:spPr/>
      <dgm:t>
        <a:bodyPr/>
        <a:lstStyle/>
        <a:p>
          <a:endParaRPr lang="it-IT"/>
        </a:p>
      </dgm:t>
    </dgm:pt>
    <dgm:pt modelId="{DCE95833-DB23-4095-9F3E-6CA8E4A63CD9}" type="sibTrans" cxnId="{4DD85B7B-C9AF-4EF5-9890-671A5EED9641}">
      <dgm:prSet/>
      <dgm:spPr/>
      <dgm:t>
        <a:bodyPr/>
        <a:lstStyle/>
        <a:p>
          <a:endParaRPr lang="it-IT"/>
        </a:p>
      </dgm:t>
    </dgm:pt>
    <dgm:pt modelId="{FFA70382-B56C-4782-9AC6-2589FCC02597}" type="pres">
      <dgm:prSet presAssocID="{FF2A952B-8B1F-4A81-95B2-FE6D0C93768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5C7320C9-9B3C-43B0-ABDA-0630C0911D53}" type="pres">
      <dgm:prSet presAssocID="{5131F6F2-53E2-47D7-B836-76B41ADD98CC}" presName="parentText" presStyleLbl="node1" presStyleIdx="0" presStyleCnt="1" custLinFactNeighborY="-16468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4DD85B7B-C9AF-4EF5-9890-671A5EED9641}" srcId="{FF2A952B-8B1F-4A81-95B2-FE6D0C93768D}" destId="{5131F6F2-53E2-47D7-B836-76B41ADD98CC}" srcOrd="0" destOrd="0" parTransId="{CFE3FBC7-C9FB-4FB5-909B-C511C68BEA7F}" sibTransId="{DCE95833-DB23-4095-9F3E-6CA8E4A63CD9}"/>
    <dgm:cxn modelId="{5B3B52FC-3FDB-4F8E-AEEE-315576A4D51A}" type="presOf" srcId="{5131F6F2-53E2-47D7-B836-76B41ADD98CC}" destId="{5C7320C9-9B3C-43B0-ABDA-0630C0911D53}" srcOrd="0" destOrd="0" presId="urn:microsoft.com/office/officeart/2005/8/layout/vList2"/>
    <dgm:cxn modelId="{8E9A62A4-75D3-4939-97E5-36C1840001BF}" type="presOf" srcId="{FF2A952B-8B1F-4A81-95B2-FE6D0C93768D}" destId="{FFA70382-B56C-4782-9AC6-2589FCC02597}" srcOrd="0" destOrd="0" presId="urn:microsoft.com/office/officeart/2005/8/layout/vList2"/>
    <dgm:cxn modelId="{047E07CB-1679-4C3B-9A6C-24F230167124}" type="presParOf" srcId="{FFA70382-B56C-4782-9AC6-2589FCC02597}" destId="{5C7320C9-9B3C-43B0-ABDA-0630C0911D5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39.xml><?xml version="1.0" encoding="utf-8"?>
<dgm:dataModel xmlns:dgm="http://schemas.openxmlformats.org/drawingml/2006/diagram" xmlns:a="http://schemas.openxmlformats.org/drawingml/2006/main">
  <dgm:ptLst>
    <dgm:pt modelId="{7D015C25-D274-4DD4-A8E3-370FD1A5676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4B8DF9EC-513C-4242-9EF7-06AC94FD0C25}">
      <dgm:prSet/>
      <dgm:spPr/>
      <dgm:t>
        <a:bodyPr/>
        <a:lstStyle/>
        <a:p>
          <a:pPr rtl="0"/>
          <a:r>
            <a:rPr lang="it-IT" dirty="0" smtClean="0"/>
            <a:t>Creazione di un nuovo tessuto produttivo innovation based</a:t>
          </a:r>
          <a:endParaRPr lang="it-IT" dirty="0"/>
        </a:p>
      </dgm:t>
    </dgm:pt>
    <dgm:pt modelId="{D983F1C9-8BC8-4602-A3F2-93DDE7DAAB0D}" type="parTrans" cxnId="{475FE5F3-6E68-4A02-B4FD-AE07C5326B6F}">
      <dgm:prSet/>
      <dgm:spPr/>
      <dgm:t>
        <a:bodyPr/>
        <a:lstStyle/>
        <a:p>
          <a:endParaRPr lang="it-IT"/>
        </a:p>
      </dgm:t>
    </dgm:pt>
    <dgm:pt modelId="{2EB66F02-20B0-4768-B7F1-3FF5151FA168}" type="sibTrans" cxnId="{475FE5F3-6E68-4A02-B4FD-AE07C5326B6F}">
      <dgm:prSet/>
      <dgm:spPr/>
      <dgm:t>
        <a:bodyPr/>
        <a:lstStyle/>
        <a:p>
          <a:endParaRPr lang="it-IT"/>
        </a:p>
      </dgm:t>
    </dgm:pt>
    <dgm:pt modelId="{D9605F58-5920-4B30-ABCB-8F331F35C100}" type="pres">
      <dgm:prSet presAssocID="{7D015C25-D274-4DD4-A8E3-370FD1A567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5E72158-CB87-4623-BAB3-0A89D8A44D36}" type="pres">
      <dgm:prSet presAssocID="{4B8DF9EC-513C-4242-9EF7-06AC94FD0C25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C801B0A5-F8A3-44F7-B35F-635AC85564EA}" type="presOf" srcId="{4B8DF9EC-513C-4242-9EF7-06AC94FD0C25}" destId="{A5E72158-CB87-4623-BAB3-0A89D8A44D36}" srcOrd="0" destOrd="0" presId="urn:microsoft.com/office/officeart/2005/8/layout/vList2"/>
    <dgm:cxn modelId="{BEBEBBD7-E472-436D-86D7-965E5A2BEBDE}" type="presOf" srcId="{7D015C25-D274-4DD4-A8E3-370FD1A56760}" destId="{D9605F58-5920-4B30-ABCB-8F331F35C100}" srcOrd="0" destOrd="0" presId="urn:microsoft.com/office/officeart/2005/8/layout/vList2"/>
    <dgm:cxn modelId="{475FE5F3-6E68-4A02-B4FD-AE07C5326B6F}" srcId="{7D015C25-D274-4DD4-A8E3-370FD1A56760}" destId="{4B8DF9EC-513C-4242-9EF7-06AC94FD0C25}" srcOrd="0" destOrd="0" parTransId="{D983F1C9-8BC8-4602-A3F2-93DDE7DAAB0D}" sibTransId="{2EB66F02-20B0-4768-B7F1-3FF5151FA168}"/>
    <dgm:cxn modelId="{F75DD954-A0B3-4D2C-8A2B-08DFA7866CE1}" type="presParOf" srcId="{D9605F58-5920-4B30-ABCB-8F331F35C100}" destId="{A5E72158-CB87-4623-BAB3-0A89D8A44D36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/>
      <dgm:spPr/>
      <dgm:t>
        <a:bodyPr/>
        <a:lstStyle/>
        <a:p>
          <a:r>
            <a:rPr lang="it-IT" b="1" dirty="0" smtClean="0"/>
            <a:t>APPROCCIO BOTTOM UP</a:t>
          </a:r>
          <a:endParaRPr lang="it-IT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I partecipanti al tavolo hanno il compito di </a:t>
          </a:r>
          <a:r>
            <a:rPr lang="it-IT" sz="3600" b="0" u="sng" dirty="0" smtClean="0">
              <a:solidFill>
                <a:srgbClr val="FF0000"/>
              </a:solidFill>
            </a:rPr>
            <a:t>condividere e fornire  conoscenze </a:t>
          </a:r>
          <a:r>
            <a:rPr lang="it-IT" sz="3600" b="0" dirty="0" smtClean="0">
              <a:solidFill>
                <a:schemeClr val="accent1"/>
              </a:solidFill>
            </a:rPr>
            <a:t>in termini di analisi, diagnosi, </a:t>
          </a:r>
          <a:r>
            <a:rPr lang="it-IT" sz="3600" b="0" dirty="0" err="1" smtClean="0">
              <a:solidFill>
                <a:schemeClr val="accent1"/>
              </a:solidFill>
            </a:rPr>
            <a:t>vision</a:t>
          </a:r>
          <a:r>
            <a:rPr lang="it-IT" sz="3600" b="0" dirty="0" smtClean="0">
              <a:solidFill>
                <a:schemeClr val="accent1"/>
              </a:solidFill>
            </a:rPr>
            <a:t> per </a:t>
          </a:r>
          <a:r>
            <a:rPr lang="it-IT" sz="3600" b="0" u="sng" dirty="0" smtClean="0">
              <a:solidFill>
                <a:srgbClr val="FF0000"/>
              </a:solidFill>
            </a:rPr>
            <a:t>completare</a:t>
          </a:r>
          <a:r>
            <a:rPr lang="it-IT" sz="3600" b="0" dirty="0" smtClean="0">
              <a:solidFill>
                <a:schemeClr val="accent1"/>
              </a:solidFill>
            </a:rPr>
            <a:t>  la definizione della RIS 3 Sicilia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3B7EB68D-5325-4D77-979A-87095C4BAA6A}" type="presOf" srcId="{FA935D20-D649-4F38-A41B-69E90530D632}" destId="{19C3370D-7B6A-4F3C-8C78-C38DF1D2FA31}" srcOrd="0" destOrd="0" presId="urn:microsoft.com/office/officeart/2005/8/layout/vList5"/>
    <dgm:cxn modelId="{7E4659ED-8963-4D4F-8A42-73A454F02CAB}" type="presOf" srcId="{BE3B8733-AE13-4A7B-A32B-B74DE4C528D7}" destId="{67CAF0F0-11C7-41D4-B458-17DD1ACC65D7}" srcOrd="0" destOrd="0" presId="urn:microsoft.com/office/officeart/2005/8/layout/vList5"/>
    <dgm:cxn modelId="{649C20EC-A740-42B6-9001-3C08A17DD3CC}" type="presOf" srcId="{F23A2E33-A7A9-4C0C-9E2D-FE9B09B27B0C}" destId="{4B75031E-EAE2-44AE-A204-79AAE3CD8BF2}" srcOrd="0" destOrd="0" presId="urn:microsoft.com/office/officeart/2005/8/layout/vList5"/>
    <dgm:cxn modelId="{33089BC5-B0C8-4CCC-8CC6-7169992A32F5}" type="presParOf" srcId="{67CAF0F0-11C7-41D4-B458-17DD1ACC65D7}" destId="{91EF4C2B-0965-4D66-A48D-ECB7ACAE5C2D}" srcOrd="0" destOrd="0" presId="urn:microsoft.com/office/officeart/2005/8/layout/vList5"/>
    <dgm:cxn modelId="{36401336-79BD-4BC5-85D9-9263D2A0CB72}" type="presParOf" srcId="{91EF4C2B-0965-4D66-A48D-ECB7ACAE5C2D}" destId="{4B75031E-EAE2-44AE-A204-79AAE3CD8BF2}" srcOrd="0" destOrd="0" presId="urn:microsoft.com/office/officeart/2005/8/layout/vList5"/>
    <dgm:cxn modelId="{5E1660F5-0D60-4E41-8009-7E77FD0F1AB4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0.xml><?xml version="1.0" encoding="utf-8"?>
<dgm:dataModel xmlns:dgm="http://schemas.openxmlformats.org/drawingml/2006/diagram" xmlns:a="http://schemas.openxmlformats.org/drawingml/2006/main">
  <dgm:ptLst>
    <dgm:pt modelId="{54395A23-3C95-4CBC-9E16-034A70E80C7A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342C2DC4-F633-4C80-8A7C-2DFCF0691567}">
      <dgm:prSet/>
      <dgm:spPr/>
      <dgm:t>
        <a:bodyPr/>
        <a:lstStyle/>
        <a:p>
          <a:pPr rtl="0"/>
          <a:r>
            <a:rPr lang="it-IT" dirty="0" smtClean="0"/>
            <a:t>Sostegno all’uso diffuso delle Innovazioni  (anche non </a:t>
          </a:r>
          <a:r>
            <a:rPr lang="it-IT" dirty="0" err="1" smtClean="0"/>
            <a:t>tech</a:t>
          </a:r>
          <a:r>
            <a:rPr lang="it-IT" dirty="0" smtClean="0"/>
            <a:t>) in risposta alle sfide sociali emergenti negli ambienti urbani e marginali</a:t>
          </a:r>
          <a:endParaRPr lang="it-IT" dirty="0"/>
        </a:p>
      </dgm:t>
    </dgm:pt>
    <dgm:pt modelId="{64F10A69-B06F-439A-978F-86236E0EED9C}" type="parTrans" cxnId="{B6C8E77B-179A-4EF2-8B05-541CDA249637}">
      <dgm:prSet/>
      <dgm:spPr/>
      <dgm:t>
        <a:bodyPr/>
        <a:lstStyle/>
        <a:p>
          <a:endParaRPr lang="it-IT"/>
        </a:p>
      </dgm:t>
    </dgm:pt>
    <dgm:pt modelId="{0DB94241-3B8B-4153-8F2C-70BD3A18212B}" type="sibTrans" cxnId="{B6C8E77B-179A-4EF2-8B05-541CDA249637}">
      <dgm:prSet/>
      <dgm:spPr/>
      <dgm:t>
        <a:bodyPr/>
        <a:lstStyle/>
        <a:p>
          <a:endParaRPr lang="it-IT"/>
        </a:p>
      </dgm:t>
    </dgm:pt>
    <dgm:pt modelId="{57F98EC0-5F68-4A62-9815-9F2088DB35F4}" type="pres">
      <dgm:prSet presAssocID="{54395A23-3C95-4CBC-9E16-034A70E80C7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E4CACD3-EE37-4975-9E62-2F328C6C370E}" type="pres">
      <dgm:prSet presAssocID="{342C2DC4-F633-4C80-8A7C-2DFCF0691567}" presName="parentText" presStyleLbl="node1" presStyleIdx="0" presStyleCnt="1" custLinFactNeighborY="-496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3A60DDC7-9B09-4635-8C84-16E6F8100DD1}" type="presOf" srcId="{342C2DC4-F633-4C80-8A7C-2DFCF0691567}" destId="{EE4CACD3-EE37-4975-9E62-2F328C6C370E}" srcOrd="0" destOrd="0" presId="urn:microsoft.com/office/officeart/2005/8/layout/vList2"/>
    <dgm:cxn modelId="{91A02546-91D3-4593-8BD5-0EEB4FD1D4DF}" type="presOf" srcId="{54395A23-3C95-4CBC-9E16-034A70E80C7A}" destId="{57F98EC0-5F68-4A62-9815-9F2088DB35F4}" srcOrd="0" destOrd="0" presId="urn:microsoft.com/office/officeart/2005/8/layout/vList2"/>
    <dgm:cxn modelId="{B6C8E77B-179A-4EF2-8B05-541CDA249637}" srcId="{54395A23-3C95-4CBC-9E16-034A70E80C7A}" destId="{342C2DC4-F633-4C80-8A7C-2DFCF0691567}" srcOrd="0" destOrd="0" parTransId="{64F10A69-B06F-439A-978F-86236E0EED9C}" sibTransId="{0DB94241-3B8B-4153-8F2C-70BD3A18212B}"/>
    <dgm:cxn modelId="{357763F7-8549-45C1-A446-8E3D204BC2EB}" type="presParOf" srcId="{57F98EC0-5F68-4A62-9815-9F2088DB35F4}" destId="{EE4CACD3-EE37-4975-9E62-2F328C6C370E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41.xml><?xml version="1.0" encoding="utf-8"?>
<dgm:dataModel xmlns:dgm="http://schemas.openxmlformats.org/drawingml/2006/diagram" xmlns:a="http://schemas.openxmlformats.org/drawingml/2006/main">
  <dgm:ptLst>
    <dgm:pt modelId="{B7C63F1F-37AF-49BC-BBEB-5E74A137DE0D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75218A5C-A37B-4816-9306-EEA349973F5E}">
      <dgm:prSet/>
      <dgm:spPr/>
      <dgm:t>
        <a:bodyPr/>
        <a:lstStyle/>
        <a:p>
          <a:pPr rtl="0"/>
          <a:r>
            <a:rPr lang="it-IT" dirty="0" smtClean="0"/>
            <a:t>Sostegno a nuove categorie di innovatori sociali e di creativi  culturali </a:t>
          </a:r>
          <a:endParaRPr lang="it-IT" dirty="0"/>
        </a:p>
      </dgm:t>
    </dgm:pt>
    <dgm:pt modelId="{A7D65231-8A40-4214-86D2-04268A6CD1AB}" type="parTrans" cxnId="{67585602-D54D-4782-9537-8870E433BAC0}">
      <dgm:prSet/>
      <dgm:spPr/>
      <dgm:t>
        <a:bodyPr/>
        <a:lstStyle/>
        <a:p>
          <a:endParaRPr lang="it-IT"/>
        </a:p>
      </dgm:t>
    </dgm:pt>
    <dgm:pt modelId="{BB6D7AD5-3235-4C94-9B20-0BBCB424F3DA}" type="sibTrans" cxnId="{67585602-D54D-4782-9537-8870E433BAC0}">
      <dgm:prSet/>
      <dgm:spPr/>
      <dgm:t>
        <a:bodyPr/>
        <a:lstStyle/>
        <a:p>
          <a:endParaRPr lang="it-IT"/>
        </a:p>
      </dgm:t>
    </dgm:pt>
    <dgm:pt modelId="{3E7B7DB2-5C50-46DE-8199-527C1A2C9C81}" type="pres">
      <dgm:prSet presAssocID="{B7C63F1F-37AF-49BC-BBEB-5E74A137DE0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486AD86E-5163-40B0-AE34-CC51738A6EFB}" type="pres">
      <dgm:prSet presAssocID="{75218A5C-A37B-4816-9306-EEA349973F5E}" presName="parentText" presStyleLbl="node1" presStyleIdx="0" presStyleCnt="1" custLinFactNeighborY="-27492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7585602-D54D-4782-9537-8870E433BAC0}" srcId="{B7C63F1F-37AF-49BC-BBEB-5E74A137DE0D}" destId="{75218A5C-A37B-4816-9306-EEA349973F5E}" srcOrd="0" destOrd="0" parTransId="{A7D65231-8A40-4214-86D2-04268A6CD1AB}" sibTransId="{BB6D7AD5-3235-4C94-9B20-0BBCB424F3DA}"/>
    <dgm:cxn modelId="{5DEBFB9D-B760-479B-9813-C9E0F87CC9FA}" type="presOf" srcId="{B7C63F1F-37AF-49BC-BBEB-5E74A137DE0D}" destId="{3E7B7DB2-5C50-46DE-8199-527C1A2C9C81}" srcOrd="0" destOrd="0" presId="urn:microsoft.com/office/officeart/2005/8/layout/vList2"/>
    <dgm:cxn modelId="{A47F1E77-68AE-49AE-93F7-07C3EB48FB3D}" type="presOf" srcId="{75218A5C-A37B-4816-9306-EEA349973F5E}" destId="{486AD86E-5163-40B0-AE34-CC51738A6EFB}" srcOrd="0" destOrd="0" presId="urn:microsoft.com/office/officeart/2005/8/layout/vList2"/>
    <dgm:cxn modelId="{911558B2-C2FA-4685-BE68-E1AC01ABE4F2}" type="presParOf" srcId="{3E7B7DB2-5C50-46DE-8199-527C1A2C9C81}" destId="{486AD86E-5163-40B0-AE34-CC51738A6EFB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42.xml><?xml version="1.0" encoding="utf-8"?>
<dgm:dataModel xmlns:dgm="http://schemas.openxmlformats.org/drawingml/2006/diagram" xmlns:a="http://schemas.openxmlformats.org/drawingml/2006/main">
  <dgm:ptLst>
    <dgm:pt modelId="{9F45F9F9-E7F1-4D12-B562-AA4345E774A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BA2B7103-6937-4879-B678-0F2246078975}">
      <dgm:prSet custT="1"/>
      <dgm:spPr/>
      <dgm:t>
        <a:bodyPr/>
        <a:lstStyle/>
        <a:p>
          <a:pPr rtl="0"/>
          <a:r>
            <a:rPr lang="it-IT" sz="1100" dirty="0" smtClean="0"/>
            <a:t>Diffusione della cultura dell’innovazione a tutti i livelli della società regionale</a:t>
          </a:r>
          <a:endParaRPr lang="it-IT" sz="1100" dirty="0"/>
        </a:p>
      </dgm:t>
    </dgm:pt>
    <dgm:pt modelId="{03FB00C7-8265-4781-A621-250439406826}" type="parTrans" cxnId="{A0A4B6A5-0FAC-4873-B138-51F3385522E4}">
      <dgm:prSet/>
      <dgm:spPr/>
      <dgm:t>
        <a:bodyPr/>
        <a:lstStyle/>
        <a:p>
          <a:endParaRPr lang="it-IT"/>
        </a:p>
      </dgm:t>
    </dgm:pt>
    <dgm:pt modelId="{3622B74C-A085-4A94-9A74-FADC376FB6FA}" type="sibTrans" cxnId="{A0A4B6A5-0FAC-4873-B138-51F3385522E4}">
      <dgm:prSet/>
      <dgm:spPr/>
      <dgm:t>
        <a:bodyPr/>
        <a:lstStyle/>
        <a:p>
          <a:endParaRPr lang="it-IT"/>
        </a:p>
      </dgm:t>
    </dgm:pt>
    <dgm:pt modelId="{C64E127B-0611-40E3-A846-DBF56D81913E}" type="pres">
      <dgm:prSet presAssocID="{9F45F9F9-E7F1-4D12-B562-AA4345E774A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9E7FA22-3B92-4733-BB85-6986F285FB2A}" type="pres">
      <dgm:prSet presAssocID="{BA2B7103-6937-4879-B678-0F2246078975}" presName="parentText" presStyleLbl="node1" presStyleIdx="0" presStyleCnt="1" custLinFactNeighborX="-475" custLinFactNeighborY="-4386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7B40F86-53CC-4224-B298-092CBEACA7C7}" type="presOf" srcId="{BA2B7103-6937-4879-B678-0F2246078975}" destId="{A9E7FA22-3B92-4733-BB85-6986F285FB2A}" srcOrd="0" destOrd="0" presId="urn:microsoft.com/office/officeart/2005/8/layout/vList2"/>
    <dgm:cxn modelId="{A0A4B6A5-0FAC-4873-B138-51F3385522E4}" srcId="{9F45F9F9-E7F1-4D12-B562-AA4345E774A4}" destId="{BA2B7103-6937-4879-B678-0F2246078975}" srcOrd="0" destOrd="0" parTransId="{03FB00C7-8265-4781-A621-250439406826}" sibTransId="{3622B74C-A085-4A94-9A74-FADC376FB6FA}"/>
    <dgm:cxn modelId="{BBB1CBEA-9529-4823-8540-7127728A17CA}" type="presOf" srcId="{9F45F9F9-E7F1-4D12-B562-AA4345E774A4}" destId="{C64E127B-0611-40E3-A846-DBF56D81913E}" srcOrd="0" destOrd="0" presId="urn:microsoft.com/office/officeart/2005/8/layout/vList2"/>
    <dgm:cxn modelId="{4849801A-4035-4FE1-BB7E-E8EBCE50792E}" type="presParOf" srcId="{C64E127B-0611-40E3-A846-DBF56D81913E}" destId="{A9E7FA22-3B92-4733-BB85-6986F285FB2A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43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Accordi di Programma/IT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r>
            <a:rPr lang="it-IT" sz="1500" i="1" dirty="0" smtClean="0">
              <a:latin typeface="Calibri" panose="020F0502020204030204" pitchFamily="34" charset="0"/>
            </a:rPr>
            <a:t>Procedure negoziali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ADFFD4AC-1E9C-47C1-9BBC-0B69BA42B5A8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D7414C5C-9F8F-42A0-93F5-7C76D08505F2}" type="presOf" srcId="{886FCA53-2B50-4919-9D84-B3341636C061}" destId="{AF161DBD-193F-4E53-9953-839E85CF1C7D}" srcOrd="0" destOrd="0" presId="urn:microsoft.com/office/officeart/2008/layout/VerticalCircleList"/>
    <dgm:cxn modelId="{D0F54DE8-14C5-48E6-811C-EB5F00F32111}" type="presParOf" srcId="{AF161DBD-193F-4E53-9953-839E85CF1C7D}" destId="{41EEB0CA-07A8-4FF5-8967-C48F01E36B29}" srcOrd="0" destOrd="0" presId="urn:microsoft.com/office/officeart/2008/layout/VerticalCircleList"/>
    <dgm:cxn modelId="{1F0CBA27-04A1-4C32-999A-2378FC9BB6F8}" type="presParOf" srcId="{41EEB0CA-07A8-4FF5-8967-C48F01E36B29}" destId="{AAA1C512-E96F-4798-9282-083A0E274468}" srcOrd="0" destOrd="0" presId="urn:microsoft.com/office/officeart/2008/layout/VerticalCircleList"/>
    <dgm:cxn modelId="{AB3DA303-D0EB-4262-BBE7-8D1883E00EC5}" type="presParOf" srcId="{41EEB0CA-07A8-4FF5-8967-C48F01E36B29}" destId="{74BC567D-A420-4605-8CAF-34A3430FBCC5}" srcOrd="1" destOrd="0" presId="urn:microsoft.com/office/officeart/2008/layout/VerticalCircleList"/>
    <dgm:cxn modelId="{BCBD966D-F94D-491C-906B-55E84B9114CA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44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Contratti di Rete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 </a:t>
          </a:r>
          <a:r>
            <a:rPr lang="it-IT" sz="1500" b="0" i="1" dirty="0" smtClean="0">
              <a:latin typeface="Calibri" panose="020F0502020204030204" pitchFamily="34" charset="0"/>
            </a:rPr>
            <a:t>Procedure negoziali </a:t>
          </a:r>
          <a:endParaRPr lang="it-IT" sz="1500" b="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9332B366-C54E-471D-BEAC-97C2E321D5D4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308A87D9-C18A-4440-8629-AC4E9D9BF087}" type="presOf" srcId="{DF7312F5-2151-4B18-9FE3-27B38D9DAE81}" destId="{1EF007DE-E38E-41BB-9C84-DBA6EE5550E0}" srcOrd="0" destOrd="0" presId="urn:microsoft.com/office/officeart/2008/layout/VerticalCircleList"/>
    <dgm:cxn modelId="{5E55252D-2689-4810-B1C2-322DEEACF50B}" type="presParOf" srcId="{AF161DBD-193F-4E53-9953-839E85CF1C7D}" destId="{41EEB0CA-07A8-4FF5-8967-C48F01E36B29}" srcOrd="0" destOrd="0" presId="urn:microsoft.com/office/officeart/2008/layout/VerticalCircleList"/>
    <dgm:cxn modelId="{9A1309B5-0670-4998-9355-9774EEE09538}" type="presParOf" srcId="{41EEB0CA-07A8-4FF5-8967-C48F01E36B29}" destId="{AAA1C512-E96F-4798-9282-083A0E274468}" srcOrd="0" destOrd="0" presId="urn:microsoft.com/office/officeart/2008/layout/VerticalCircleList"/>
    <dgm:cxn modelId="{4A14CCA6-DDF1-4EA8-9905-0E6264DAE5A5}" type="presParOf" srcId="{41EEB0CA-07A8-4FF5-8967-C48F01E36B29}" destId="{74BC567D-A420-4605-8CAF-34A3430FBCC5}" srcOrd="1" destOrd="0" presId="urn:microsoft.com/office/officeart/2008/layout/VerticalCircleList"/>
    <dgm:cxn modelId="{B18C3436-5534-494F-906A-9B1AC508FC6A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45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Incentivi a Start up e spin off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037AF754-9E85-4D45-962C-A7F87CE3F063}" type="presOf" srcId="{DF7312F5-2151-4B18-9FE3-27B38D9DAE81}" destId="{1EF007DE-E38E-41BB-9C84-DBA6EE5550E0}" srcOrd="0" destOrd="0" presId="urn:microsoft.com/office/officeart/2008/layout/VerticalCircleList"/>
    <dgm:cxn modelId="{DA4BB1E5-656D-43B8-989B-2230A3F8DEAD}" type="presOf" srcId="{886FCA53-2B50-4919-9D84-B3341636C061}" destId="{AF161DBD-193F-4E53-9953-839E85CF1C7D}" srcOrd="0" destOrd="0" presId="urn:microsoft.com/office/officeart/2008/layout/VerticalCircleList"/>
    <dgm:cxn modelId="{A45021B4-AEFA-44F9-813C-806EA5FE577C}" type="presParOf" srcId="{AF161DBD-193F-4E53-9953-839E85CF1C7D}" destId="{41EEB0CA-07A8-4FF5-8967-C48F01E36B29}" srcOrd="0" destOrd="0" presId="urn:microsoft.com/office/officeart/2008/layout/VerticalCircleList"/>
    <dgm:cxn modelId="{15369B61-7A17-4C02-9EFF-055E2405343F}" type="presParOf" srcId="{41EEB0CA-07A8-4FF5-8967-C48F01E36B29}" destId="{AAA1C512-E96F-4798-9282-083A0E274468}" srcOrd="0" destOrd="0" presId="urn:microsoft.com/office/officeart/2008/layout/VerticalCircleList"/>
    <dgm:cxn modelId="{048CBC0C-732F-46A9-9A93-B15EFBA69639}" type="presParOf" srcId="{41EEB0CA-07A8-4FF5-8967-C48F01E36B29}" destId="{74BC567D-A420-4605-8CAF-34A3430FBCC5}" srcOrd="1" destOrd="0" presId="urn:microsoft.com/office/officeart/2008/layout/VerticalCircleList"/>
    <dgm:cxn modelId="{32033D65-E1EE-46EF-ADCA-3CF17EB6CBC9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46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Sostegno a Cluster Nazional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2F76CE0E-31B1-4339-8C96-E656B94CA667}" type="presOf" srcId="{DF7312F5-2151-4B18-9FE3-27B38D9DAE81}" destId="{1EF007DE-E38E-41BB-9C84-DBA6EE5550E0}" srcOrd="0" destOrd="0" presId="urn:microsoft.com/office/officeart/2008/layout/VerticalCircleList"/>
    <dgm:cxn modelId="{3273D065-BE34-4743-BC7E-06D1AD3070CF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71ABD32B-9781-4CF1-8CCB-CC0E45D43738}" type="presParOf" srcId="{AF161DBD-193F-4E53-9953-839E85CF1C7D}" destId="{41EEB0CA-07A8-4FF5-8967-C48F01E36B29}" srcOrd="0" destOrd="0" presId="urn:microsoft.com/office/officeart/2008/layout/VerticalCircleList"/>
    <dgm:cxn modelId="{24A4D049-5B41-422F-9A45-30A5DC727AC8}" type="presParOf" srcId="{41EEB0CA-07A8-4FF5-8967-C48F01E36B29}" destId="{AAA1C512-E96F-4798-9282-083A0E274468}" srcOrd="0" destOrd="0" presId="urn:microsoft.com/office/officeart/2008/layout/VerticalCircleList"/>
    <dgm:cxn modelId="{0B98CDAC-5EA3-4EC9-8100-A5D3E5EC9CB4}" type="presParOf" srcId="{41EEB0CA-07A8-4FF5-8967-C48F01E36B29}" destId="{74BC567D-A420-4605-8CAF-34A3430FBCC5}" srcOrd="1" destOrd="0" presId="urn:microsoft.com/office/officeart/2008/layout/VerticalCircleList"/>
    <dgm:cxn modelId="{B9E3672A-4BB3-49DE-A563-DAADADCCA3CC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47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Cofinanziamento progetti Horizon 2020 </a:t>
          </a:r>
          <a:endParaRPr lang="it-IT" sz="1500" b="1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A2B52627-3429-4882-8AB0-864A7524B7C4}" type="presOf" srcId="{DF7312F5-2151-4B18-9FE3-27B38D9DAE81}" destId="{1EF007DE-E38E-41BB-9C84-DBA6EE5550E0}" srcOrd="0" destOrd="0" presId="urn:microsoft.com/office/officeart/2008/layout/VerticalCircleList"/>
    <dgm:cxn modelId="{40C082E7-81D5-4349-89FB-4AA9DF45F489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CFC20520-8E67-4C6E-B1FD-DBC17E74E838}" type="presParOf" srcId="{AF161DBD-193F-4E53-9953-839E85CF1C7D}" destId="{41EEB0CA-07A8-4FF5-8967-C48F01E36B29}" srcOrd="0" destOrd="0" presId="urn:microsoft.com/office/officeart/2008/layout/VerticalCircleList"/>
    <dgm:cxn modelId="{CE7AEBD4-7D96-41B8-AED4-5E61276B4DCE}" type="presParOf" srcId="{41EEB0CA-07A8-4FF5-8967-C48F01E36B29}" destId="{AAA1C512-E96F-4798-9282-083A0E274468}" srcOrd="0" destOrd="0" presId="urn:microsoft.com/office/officeart/2008/layout/VerticalCircleList"/>
    <dgm:cxn modelId="{8C55D351-1ACE-438A-A095-913FC2FB29A7}" type="presParOf" srcId="{41EEB0CA-07A8-4FF5-8967-C48F01E36B29}" destId="{74BC567D-A420-4605-8CAF-34A3430FBCC5}" srcOrd="1" destOrd="0" presId="urn:microsoft.com/office/officeart/2008/layout/VerticalCircleList"/>
    <dgm:cxn modelId="{5E81CFEB-29C0-477A-BD57-C6A970A5DC4D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48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Sostegno a Fondi di Venture Capital 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2BA98807-BAA4-48CA-909B-F207A49E1FE0}" type="presOf" srcId="{DF7312F5-2151-4B18-9FE3-27B38D9DAE81}" destId="{1EF007DE-E38E-41BB-9C84-DBA6EE5550E0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459D6388-13D5-459C-8311-06D2C37BD87A}" type="presOf" srcId="{886FCA53-2B50-4919-9D84-B3341636C061}" destId="{AF161DBD-193F-4E53-9953-839E85CF1C7D}" srcOrd="0" destOrd="0" presId="urn:microsoft.com/office/officeart/2008/layout/VerticalCircleList"/>
    <dgm:cxn modelId="{4EC3F095-772D-4383-9538-4C688322D83E}" type="presParOf" srcId="{AF161DBD-193F-4E53-9953-839E85CF1C7D}" destId="{41EEB0CA-07A8-4FF5-8967-C48F01E36B29}" srcOrd="0" destOrd="0" presId="urn:microsoft.com/office/officeart/2008/layout/VerticalCircleList"/>
    <dgm:cxn modelId="{7CECA4AA-1D51-4FE2-8566-6A7DC9926899}" type="presParOf" srcId="{41EEB0CA-07A8-4FF5-8967-C48F01E36B29}" destId="{AAA1C512-E96F-4798-9282-083A0E274468}" srcOrd="0" destOrd="0" presId="urn:microsoft.com/office/officeart/2008/layout/VerticalCircleList"/>
    <dgm:cxn modelId="{FEB23C05-ED48-432B-AE7C-14B3DB92DBEF}" type="presParOf" srcId="{41EEB0CA-07A8-4FF5-8967-C48F01E36B29}" destId="{74BC567D-A420-4605-8CAF-34A3430FBCC5}" srcOrd="1" destOrd="0" presId="urn:microsoft.com/office/officeart/2008/layout/VerticalCircleList"/>
    <dgm:cxn modelId="{34084E37-E62D-48A1-99C8-35F450F344D0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36" minVer="http://schemas.openxmlformats.org/drawingml/2006/diagram"/>
    </a:ext>
  </dgm:extLst>
</dgm:dataModel>
</file>

<file path=ppt/diagrams/data49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algn="just"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Incentivi</a:t>
          </a:r>
        </a:p>
        <a:p>
          <a:pPr algn="l"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dirty="0" smtClean="0">
              <a:solidFill>
                <a:schemeClr val="tx1"/>
              </a:solidFill>
              <a:latin typeface="Calibri" panose="020F0502020204030204" pitchFamily="34" charset="0"/>
            </a:rPr>
            <a:t>a</a:t>
          </a:r>
          <a:r>
            <a:rPr lang="it-IT" sz="1500" b="1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dirty="0" smtClean="0">
              <a:solidFill>
                <a:schemeClr val="tx1"/>
              </a:solidFill>
              <a:latin typeface="Calibri" panose="020F0502020204030204" pitchFamily="34" charset="0"/>
            </a:rPr>
            <a:t>brevettazione, prototipazione e copertura costi fase pre seed</a:t>
          </a:r>
          <a:endParaRPr lang="it-IT" sz="1500" b="0" i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158389C5-AA84-4E43-B0D6-796FCF0A7289}" type="presOf" srcId="{886FCA53-2B50-4919-9D84-B3341636C061}" destId="{AF161DBD-193F-4E53-9953-839E85CF1C7D}" srcOrd="0" destOrd="0" presId="urn:microsoft.com/office/officeart/2008/layout/VerticalCircleList"/>
    <dgm:cxn modelId="{FFC0A63D-3E5A-4D57-8261-515B4930BED2}" type="presOf" srcId="{DF7312F5-2151-4B18-9FE3-27B38D9DAE81}" destId="{1EF007DE-E38E-41BB-9C84-DBA6EE5550E0}" srcOrd="0" destOrd="0" presId="urn:microsoft.com/office/officeart/2008/layout/VerticalCircleList"/>
    <dgm:cxn modelId="{0432453A-5BE9-440E-B496-79D1B9ECDE79}" type="presParOf" srcId="{AF161DBD-193F-4E53-9953-839E85CF1C7D}" destId="{41EEB0CA-07A8-4FF5-8967-C48F01E36B29}" srcOrd="0" destOrd="0" presId="urn:microsoft.com/office/officeart/2008/layout/VerticalCircleList"/>
    <dgm:cxn modelId="{3BA581FB-D6F7-4846-9C7E-BE12FD789DDA}" type="presParOf" srcId="{41EEB0CA-07A8-4FF5-8967-C48F01E36B29}" destId="{AAA1C512-E96F-4798-9282-083A0E274468}" srcOrd="0" destOrd="0" presId="urn:microsoft.com/office/officeart/2008/layout/VerticalCircleList"/>
    <dgm:cxn modelId="{EC7DCED7-55F9-4E2C-89FF-2052911A5488}" type="presParOf" srcId="{41EEB0CA-07A8-4FF5-8967-C48F01E36B29}" destId="{74BC567D-A420-4605-8CAF-34A3430FBCC5}" srcOrd="1" destOrd="0" presId="urn:microsoft.com/office/officeart/2008/layout/VerticalCircleList"/>
    <dgm:cxn modelId="{4602489D-36D2-4CE5-9469-B4F39F1B9D8C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4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F295A9-2A2E-416D-9AE6-C3404377959E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2BF37BE0-F1C9-4327-8D6B-194C8F2CF94F}">
      <dgm:prSet custT="1"/>
      <dgm:spPr/>
      <dgm:t>
        <a:bodyPr/>
        <a:lstStyle/>
        <a:p>
          <a:pPr rtl="0"/>
          <a:r>
            <a:rPr lang="it-IT" sz="4000" b="1" dirty="0" smtClean="0">
              <a:solidFill>
                <a:schemeClr val="accent1">
                  <a:lumMod val="75000"/>
                </a:schemeClr>
              </a:solidFill>
            </a:rPr>
            <a:t>Cosa dobbiamo fare</a:t>
          </a:r>
          <a:endParaRPr lang="it-IT" sz="4000" b="1" dirty="0">
            <a:solidFill>
              <a:schemeClr val="accent1">
                <a:lumMod val="75000"/>
              </a:schemeClr>
            </a:solidFill>
          </a:endParaRPr>
        </a:p>
      </dgm:t>
    </dgm:pt>
    <dgm:pt modelId="{4AA17FDB-A052-4790-AE95-CF73ACE16E71}" type="parTrans" cxnId="{61C24A8C-0B83-4B1F-AD85-E5EDDAA1AC00}">
      <dgm:prSet/>
      <dgm:spPr/>
      <dgm:t>
        <a:bodyPr/>
        <a:lstStyle/>
        <a:p>
          <a:endParaRPr lang="it-IT" sz="4000"/>
        </a:p>
      </dgm:t>
    </dgm:pt>
    <dgm:pt modelId="{C167467F-04BA-4DE5-90F4-5BF53279866E}" type="sibTrans" cxnId="{61C24A8C-0B83-4B1F-AD85-E5EDDAA1AC00}">
      <dgm:prSet/>
      <dgm:spPr/>
      <dgm:t>
        <a:bodyPr/>
        <a:lstStyle/>
        <a:p>
          <a:endParaRPr lang="it-IT" sz="4000"/>
        </a:p>
      </dgm:t>
    </dgm:pt>
    <dgm:pt modelId="{58FB0A67-F67A-40BA-890E-A840ED83B605}" type="pres">
      <dgm:prSet presAssocID="{37F295A9-2A2E-416D-9AE6-C3404377959E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AB26EC88-0333-42E8-B340-C2B4FE18384A}" type="pres">
      <dgm:prSet presAssocID="{2BF37BE0-F1C9-4327-8D6B-194C8F2CF94F}" presName="thickLine" presStyleLbl="alignNode1" presStyleIdx="0" presStyleCnt="1"/>
      <dgm:spPr/>
    </dgm:pt>
    <dgm:pt modelId="{45792684-4DE0-4EDD-B49A-A40AB3BD4B9E}" type="pres">
      <dgm:prSet presAssocID="{2BF37BE0-F1C9-4327-8D6B-194C8F2CF94F}" presName="horz1" presStyleCnt="0"/>
      <dgm:spPr/>
    </dgm:pt>
    <dgm:pt modelId="{7D920113-6D83-4974-923F-4CAA40CA2FDB}" type="pres">
      <dgm:prSet presAssocID="{2BF37BE0-F1C9-4327-8D6B-194C8F2CF94F}" presName="tx1" presStyleLbl="revTx" presStyleIdx="0" presStyleCnt="1"/>
      <dgm:spPr/>
      <dgm:t>
        <a:bodyPr/>
        <a:lstStyle/>
        <a:p>
          <a:endParaRPr lang="it-IT"/>
        </a:p>
      </dgm:t>
    </dgm:pt>
    <dgm:pt modelId="{16A37715-5C73-4284-B277-7DE3D986A994}" type="pres">
      <dgm:prSet presAssocID="{2BF37BE0-F1C9-4327-8D6B-194C8F2CF94F}" presName="vert1" presStyleCnt="0"/>
      <dgm:spPr/>
    </dgm:pt>
  </dgm:ptLst>
  <dgm:cxnLst>
    <dgm:cxn modelId="{5433976A-C422-43B3-8147-A37D8B43BE12}" type="presOf" srcId="{37F295A9-2A2E-416D-9AE6-C3404377959E}" destId="{58FB0A67-F67A-40BA-890E-A840ED83B605}" srcOrd="0" destOrd="0" presId="urn:microsoft.com/office/officeart/2008/layout/LinedList"/>
    <dgm:cxn modelId="{28070CF8-DB75-4382-9D86-4EDA4D4B5F71}" type="presOf" srcId="{2BF37BE0-F1C9-4327-8D6B-194C8F2CF94F}" destId="{7D920113-6D83-4974-923F-4CAA40CA2FDB}" srcOrd="0" destOrd="0" presId="urn:microsoft.com/office/officeart/2008/layout/LinedList"/>
    <dgm:cxn modelId="{61C24A8C-0B83-4B1F-AD85-E5EDDAA1AC00}" srcId="{37F295A9-2A2E-416D-9AE6-C3404377959E}" destId="{2BF37BE0-F1C9-4327-8D6B-194C8F2CF94F}" srcOrd="0" destOrd="0" parTransId="{4AA17FDB-A052-4790-AE95-CF73ACE16E71}" sibTransId="{C167467F-04BA-4DE5-90F4-5BF53279866E}"/>
    <dgm:cxn modelId="{00C7C9BB-F444-4A96-8F7A-2053175715E5}" type="presParOf" srcId="{58FB0A67-F67A-40BA-890E-A840ED83B605}" destId="{AB26EC88-0333-42E8-B340-C2B4FE18384A}" srcOrd="0" destOrd="0" presId="urn:microsoft.com/office/officeart/2008/layout/LinedList"/>
    <dgm:cxn modelId="{BCB48218-AF09-4A53-A255-7429AD5C9588}" type="presParOf" srcId="{58FB0A67-F67A-40BA-890E-A840ED83B605}" destId="{45792684-4DE0-4EDD-B49A-A40AB3BD4B9E}" srcOrd="1" destOrd="0" presId="urn:microsoft.com/office/officeart/2008/layout/LinedList"/>
    <dgm:cxn modelId="{58959DDB-079A-46C5-8D29-85E1A0B3FF64}" type="presParOf" srcId="{45792684-4DE0-4EDD-B49A-A40AB3BD4B9E}" destId="{7D920113-6D83-4974-923F-4CAA40CA2FDB}" srcOrd="0" destOrd="0" presId="urn:microsoft.com/office/officeart/2008/layout/LinedList"/>
    <dgm:cxn modelId="{6BB70394-CE71-4393-82AA-BE0F39151A17}" type="presParOf" srcId="{45792684-4DE0-4EDD-B49A-A40AB3BD4B9E}" destId="{16A37715-5C73-4284-B277-7DE3D986A994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0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Voucher Tecnologici e all’acquisizione di KIBS 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279E3309-A9B6-44F5-A646-D578268D1702}" type="presOf" srcId="{DF7312F5-2151-4B18-9FE3-27B38D9DAE81}" destId="{1EF007DE-E38E-41BB-9C84-DBA6EE5550E0}" srcOrd="0" destOrd="0" presId="urn:microsoft.com/office/officeart/2008/layout/VerticalCircleList"/>
    <dgm:cxn modelId="{A645F257-1526-4961-869C-CE58896BEFFF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FBCE8C1C-C381-4BB7-A3C7-BD79EDDB566A}" type="presParOf" srcId="{AF161DBD-193F-4E53-9953-839E85CF1C7D}" destId="{41EEB0CA-07A8-4FF5-8967-C48F01E36B29}" srcOrd="0" destOrd="0" presId="urn:microsoft.com/office/officeart/2008/layout/VerticalCircleList"/>
    <dgm:cxn modelId="{5F9DD34C-F34D-4005-9E4E-FCBA649C844B}" type="presParOf" srcId="{41EEB0CA-07A8-4FF5-8967-C48F01E36B29}" destId="{AAA1C512-E96F-4798-9282-083A0E274468}" srcOrd="0" destOrd="0" presId="urn:microsoft.com/office/officeart/2008/layout/VerticalCircleList"/>
    <dgm:cxn modelId="{FA310A4D-D395-4D3E-9C8A-18A31DE25C76}" type="presParOf" srcId="{41EEB0CA-07A8-4FF5-8967-C48F01E36B29}" destId="{74BC567D-A420-4605-8CAF-34A3430FBCC5}" srcOrd="1" destOrd="0" presId="urn:microsoft.com/office/officeart/2008/layout/VerticalCircleList"/>
    <dgm:cxn modelId="{2C20AB09-A337-41AE-AB10-B497177C9460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46" minVer="http://schemas.openxmlformats.org/drawingml/2006/diagram"/>
    </a:ext>
  </dgm:extLst>
</dgm:dataModel>
</file>

<file path=ppt/diagrams/data51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Incentivi all’innovazione sociale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35C31E6B-128E-475D-BAC8-16AD493C03F7}" type="presOf" srcId="{886FCA53-2B50-4919-9D84-B3341636C061}" destId="{AF161DBD-193F-4E53-9953-839E85CF1C7D}" srcOrd="0" destOrd="0" presId="urn:microsoft.com/office/officeart/2008/layout/VerticalCircleList"/>
    <dgm:cxn modelId="{ED220FA5-7C38-43E9-8B76-4DB9422B6CE1}" type="presOf" srcId="{DF7312F5-2151-4B18-9FE3-27B38D9DAE81}" destId="{1EF007DE-E38E-41BB-9C84-DBA6EE5550E0}" srcOrd="0" destOrd="0" presId="urn:microsoft.com/office/officeart/2008/layout/VerticalCircleList"/>
    <dgm:cxn modelId="{5F4587BF-CF3D-4848-B88B-95A60B837B27}" type="presParOf" srcId="{AF161DBD-193F-4E53-9953-839E85CF1C7D}" destId="{41EEB0CA-07A8-4FF5-8967-C48F01E36B29}" srcOrd="0" destOrd="0" presId="urn:microsoft.com/office/officeart/2008/layout/VerticalCircleList"/>
    <dgm:cxn modelId="{8B7EA6BB-745F-46B4-BD5C-1CE8E682F0DA}" type="presParOf" srcId="{41EEB0CA-07A8-4FF5-8967-C48F01E36B29}" destId="{AAA1C512-E96F-4798-9282-083A0E274468}" srcOrd="0" destOrd="0" presId="urn:microsoft.com/office/officeart/2008/layout/VerticalCircleList"/>
    <dgm:cxn modelId="{2CB5A38C-28E3-4C1F-B002-6CB90819042B}" type="presParOf" srcId="{41EEB0CA-07A8-4FF5-8967-C48F01E36B29}" destId="{74BC567D-A420-4605-8CAF-34A3430FBCC5}" srcOrd="1" destOrd="0" presId="urn:microsoft.com/office/officeart/2008/layout/VerticalCircleList"/>
    <dgm:cxn modelId="{ACE89127-C615-472B-9073-8D6211BD9E54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51" minVer="http://schemas.openxmlformats.org/drawingml/2006/diagram"/>
    </a:ext>
  </dgm:extLst>
</dgm:dataModel>
</file>

<file path=ppt/diagrams/data52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dirty="0" smtClean="0">
              <a:latin typeface="Calibri" panose="020F0502020204030204" pitchFamily="34" charset="0"/>
            </a:rPr>
            <a:t>Azioni di attrazione di talenti</a:t>
          </a:r>
        </a:p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dirty="0" smtClean="0">
              <a:latin typeface="Calibri" panose="020F0502020204030204" pitchFamily="34" charset="0"/>
            </a:rPr>
            <a:t> </a:t>
          </a:r>
          <a:endParaRPr lang="it-IT" sz="1500" i="1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7DD4AEAB-D03E-4B58-A031-708D3F15C284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6B7CB464-FC4A-478B-9844-812EF22262E2}" type="presOf" srcId="{DF7312F5-2151-4B18-9FE3-27B38D9DAE81}" destId="{1EF007DE-E38E-41BB-9C84-DBA6EE5550E0}" srcOrd="0" destOrd="0" presId="urn:microsoft.com/office/officeart/2008/layout/VerticalCircleList"/>
    <dgm:cxn modelId="{02B81FDC-A710-4D18-B84B-7F33F3BF281D}" type="presParOf" srcId="{AF161DBD-193F-4E53-9953-839E85CF1C7D}" destId="{41EEB0CA-07A8-4FF5-8967-C48F01E36B29}" srcOrd="0" destOrd="0" presId="urn:microsoft.com/office/officeart/2008/layout/VerticalCircleList"/>
    <dgm:cxn modelId="{F5ED5302-713F-4A39-A23B-CDAE7B2B6D77}" type="presParOf" srcId="{41EEB0CA-07A8-4FF5-8967-C48F01E36B29}" destId="{AAA1C512-E96F-4798-9282-083A0E274468}" srcOrd="0" destOrd="0" presId="urn:microsoft.com/office/officeart/2008/layout/VerticalCircleList"/>
    <dgm:cxn modelId="{D041AFAD-8FFB-44C7-95FC-1E2301B1D834}" type="presParOf" srcId="{41EEB0CA-07A8-4FF5-8967-C48F01E36B29}" destId="{74BC567D-A420-4605-8CAF-34A3430FBCC5}" srcOrd="1" destOrd="0" presId="urn:microsoft.com/office/officeart/2008/layout/VerticalCircleList"/>
    <dgm:cxn modelId="{59F5CAF8-F3DC-4909-B1C4-99D4201A4709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56" minVer="http://schemas.openxmlformats.org/drawingml/2006/diagram"/>
    </a:ext>
  </dgm:extLst>
</dgm:dataModel>
</file>

<file path=ppt/diagrams/data53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Procurement</a:t>
          </a:r>
          <a:r>
            <a:rPr lang="it-IT" sz="1500" b="1" i="0" baseline="0" dirty="0" smtClean="0">
              <a:latin typeface="Calibri" panose="020F0502020204030204" pitchFamily="34" charset="0"/>
            </a:rPr>
            <a:t> precommerciale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CF3B48CE-B2F5-41FB-9431-95FD77B6EB25}" type="presOf" srcId="{DF7312F5-2151-4B18-9FE3-27B38D9DAE81}" destId="{1EF007DE-E38E-41BB-9C84-DBA6EE5550E0}" srcOrd="0" destOrd="0" presId="urn:microsoft.com/office/officeart/2008/layout/VerticalCircleList"/>
    <dgm:cxn modelId="{B62C7DE8-8F4C-409E-A686-B17EDD61428B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1BD9D1CF-BA8B-4CF7-B953-933D9C1B3B20}" type="presParOf" srcId="{AF161DBD-193F-4E53-9953-839E85CF1C7D}" destId="{41EEB0CA-07A8-4FF5-8967-C48F01E36B29}" srcOrd="0" destOrd="0" presId="urn:microsoft.com/office/officeart/2008/layout/VerticalCircleList"/>
    <dgm:cxn modelId="{0A808D7A-65DC-4547-9E8C-AAA7FAA83D31}" type="presParOf" srcId="{41EEB0CA-07A8-4FF5-8967-C48F01E36B29}" destId="{AAA1C512-E96F-4798-9282-083A0E274468}" srcOrd="0" destOrd="0" presId="urn:microsoft.com/office/officeart/2008/layout/VerticalCircleList"/>
    <dgm:cxn modelId="{AB0EF04D-5067-4882-8112-B0DF5E2AA034}" type="presParOf" srcId="{41EEB0CA-07A8-4FF5-8967-C48F01E36B29}" destId="{74BC567D-A420-4605-8CAF-34A3430FBCC5}" srcOrd="1" destOrd="0" presId="urn:microsoft.com/office/officeart/2008/layout/VerticalCircleList"/>
    <dgm:cxn modelId="{B1F73D3D-F051-49C9-927B-0FE6CB423029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1" minVer="http://schemas.openxmlformats.org/drawingml/2006/diagram"/>
    </a:ext>
  </dgm:extLst>
</dgm:dataModel>
</file>

<file path=ppt/diagrams/data54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Living</a:t>
          </a:r>
          <a:r>
            <a:rPr lang="it-IT" sz="1500" b="1" i="0" baseline="0" dirty="0" smtClean="0">
              <a:latin typeface="Calibri" panose="020F0502020204030204" pitchFamily="34" charset="0"/>
            </a:rPr>
            <a:t> Labs e Fab Labs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B80C8EF2-659F-4691-822C-B6DBE9B406AD}" type="presOf" srcId="{886FCA53-2B50-4919-9D84-B3341636C061}" destId="{AF161DBD-193F-4E53-9953-839E85CF1C7D}" srcOrd="0" destOrd="0" presId="urn:microsoft.com/office/officeart/2008/layout/VerticalCircleList"/>
    <dgm:cxn modelId="{8D577458-D92C-4921-93F1-9893688693BB}" type="presOf" srcId="{DF7312F5-2151-4B18-9FE3-27B38D9DAE81}" destId="{1EF007DE-E38E-41BB-9C84-DBA6EE5550E0}" srcOrd="0" destOrd="0" presId="urn:microsoft.com/office/officeart/2008/layout/VerticalCircleList"/>
    <dgm:cxn modelId="{1D0890E6-F934-40D5-A5E3-9D0678DED072}" type="presParOf" srcId="{AF161DBD-193F-4E53-9953-839E85CF1C7D}" destId="{41EEB0CA-07A8-4FF5-8967-C48F01E36B29}" srcOrd="0" destOrd="0" presId="urn:microsoft.com/office/officeart/2008/layout/VerticalCircleList"/>
    <dgm:cxn modelId="{E16CEAD4-F53B-44E4-BFDC-40800CEAAF7B}" type="presParOf" srcId="{41EEB0CA-07A8-4FF5-8967-C48F01E36B29}" destId="{AAA1C512-E96F-4798-9282-083A0E274468}" srcOrd="0" destOrd="0" presId="urn:microsoft.com/office/officeart/2008/layout/VerticalCircleList"/>
    <dgm:cxn modelId="{C0225A92-0BA0-4164-9BFD-0D1A5D09190B}" type="presParOf" srcId="{41EEB0CA-07A8-4FF5-8967-C48F01E36B29}" destId="{74BC567D-A420-4605-8CAF-34A3430FBCC5}" srcOrd="1" destOrd="0" presId="urn:microsoft.com/office/officeart/2008/layout/VerticalCircleList"/>
    <dgm:cxn modelId="{18F49CEE-2949-4237-95AE-8D629FB73D70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66" minVer="http://schemas.openxmlformats.org/drawingml/2006/diagram"/>
    </a:ext>
  </dgm:extLst>
</dgm:dataModel>
</file>

<file path=ppt/diagrams/data55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Formazione</a:t>
          </a:r>
          <a:r>
            <a:rPr lang="it-IT" sz="1500" b="1" i="0" baseline="0" dirty="0" smtClean="0">
              <a:latin typeface="Calibri" panose="020F0502020204030204" pitchFamily="34" charset="0"/>
            </a:rPr>
            <a:t> continua e permanente su ICT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8AB531FC-2E21-4623-B4D4-8998EB7B7180}" type="presOf" srcId="{DF7312F5-2151-4B18-9FE3-27B38D9DAE81}" destId="{1EF007DE-E38E-41BB-9C84-DBA6EE5550E0}" srcOrd="0" destOrd="0" presId="urn:microsoft.com/office/officeart/2008/layout/VerticalCircleList"/>
    <dgm:cxn modelId="{B30C46D8-2F02-4632-976F-13236E244E4A}" type="presOf" srcId="{886FCA53-2B50-4919-9D84-B3341636C061}" destId="{AF161DBD-193F-4E53-9953-839E85CF1C7D}" srcOrd="0" destOrd="0" presId="urn:microsoft.com/office/officeart/2008/layout/VerticalCircleList"/>
    <dgm:cxn modelId="{917F161E-BA6A-4C18-8DE9-34CC2621F4AD}" type="presParOf" srcId="{AF161DBD-193F-4E53-9953-839E85CF1C7D}" destId="{41EEB0CA-07A8-4FF5-8967-C48F01E36B29}" srcOrd="0" destOrd="0" presId="urn:microsoft.com/office/officeart/2008/layout/VerticalCircleList"/>
    <dgm:cxn modelId="{63F08295-3B8D-4BA0-B5ED-AFC44D4ABA43}" type="presParOf" srcId="{41EEB0CA-07A8-4FF5-8967-C48F01E36B29}" destId="{AAA1C512-E96F-4798-9282-083A0E274468}" srcOrd="0" destOrd="0" presId="urn:microsoft.com/office/officeart/2008/layout/VerticalCircleList"/>
    <dgm:cxn modelId="{EC4917CD-5D44-4B9D-84E3-C600113EE3FB}" type="presParOf" srcId="{41EEB0CA-07A8-4FF5-8967-C48F01E36B29}" destId="{74BC567D-A420-4605-8CAF-34A3430FBCC5}" srcOrd="1" destOrd="0" presId="urn:microsoft.com/office/officeart/2008/layout/VerticalCircleList"/>
    <dgm:cxn modelId="{F5368A3C-1CE8-40B8-8469-E52E388B2F9E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1" minVer="http://schemas.openxmlformats.org/drawingml/2006/diagram"/>
    </a:ext>
  </dgm:extLst>
</dgm:dataModel>
</file>

<file path=ppt/diagrams/data56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Sostegno a PEI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3EBDFBCC-C05B-4E55-95D7-79761FEE53B4}" type="presOf" srcId="{886FCA53-2B50-4919-9D84-B3341636C061}" destId="{AF161DBD-193F-4E53-9953-839E85CF1C7D}" srcOrd="0" destOrd="0" presId="urn:microsoft.com/office/officeart/2008/layout/VerticalCircleList"/>
    <dgm:cxn modelId="{A5E0759D-DF11-471C-8C04-B3B0142239AE}" type="presOf" srcId="{DF7312F5-2151-4B18-9FE3-27B38D9DAE81}" destId="{1EF007DE-E38E-41BB-9C84-DBA6EE5550E0}" srcOrd="0" destOrd="0" presId="urn:microsoft.com/office/officeart/2008/layout/VerticalCircleList"/>
    <dgm:cxn modelId="{5AFAC5A6-66A2-4C07-A2C3-BC64A3C2F8B6}" type="presParOf" srcId="{AF161DBD-193F-4E53-9953-839E85CF1C7D}" destId="{41EEB0CA-07A8-4FF5-8967-C48F01E36B29}" srcOrd="0" destOrd="0" presId="urn:microsoft.com/office/officeart/2008/layout/VerticalCircleList"/>
    <dgm:cxn modelId="{998ACBFD-A3BC-42F3-A573-ADECC7AC234A}" type="presParOf" srcId="{41EEB0CA-07A8-4FF5-8967-C48F01E36B29}" destId="{AAA1C512-E96F-4798-9282-083A0E274468}" srcOrd="0" destOrd="0" presId="urn:microsoft.com/office/officeart/2008/layout/VerticalCircleList"/>
    <dgm:cxn modelId="{B8208126-11AC-4EE7-B551-0E77B8D3F83A}" type="presParOf" srcId="{41EEB0CA-07A8-4FF5-8967-C48F01E36B29}" destId="{74BC567D-A420-4605-8CAF-34A3430FBCC5}" srcOrd="1" destOrd="0" presId="urn:microsoft.com/office/officeart/2008/layout/VerticalCircleList"/>
    <dgm:cxn modelId="{6E260D98-5762-43E0-8EE6-32AFFCCC146A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76" minVer="http://schemas.openxmlformats.org/drawingml/2006/diagram"/>
    </a:ext>
  </dgm:extLst>
</dgm:dataModel>
</file>

<file path=ppt/diagrams/data57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Formazione Open </a:t>
          </a:r>
          <a:r>
            <a:rPr lang="it-IT" sz="1500" b="1" i="0" dirty="0" err="1" smtClean="0">
              <a:latin typeface="Calibri" panose="020F0502020204030204" pitchFamily="34" charset="0"/>
            </a:rPr>
            <a:t>Government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88493C50-8041-415E-A938-D4E8DBF1CDE7}" type="presOf" srcId="{DF7312F5-2151-4B18-9FE3-27B38D9DAE81}" destId="{1EF007DE-E38E-41BB-9C84-DBA6EE5550E0}" srcOrd="0" destOrd="0" presId="urn:microsoft.com/office/officeart/2008/layout/VerticalCircleList"/>
    <dgm:cxn modelId="{3538D479-A6FD-4CBA-A1BA-E5C459E6A393}" type="presOf" srcId="{886FCA53-2B50-4919-9D84-B3341636C061}" destId="{AF161DBD-193F-4E53-9953-839E85CF1C7D}" srcOrd="0" destOrd="0" presId="urn:microsoft.com/office/officeart/2008/layout/VerticalCircleList"/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36B7D846-F908-46ED-A6B1-91C132166150}" type="presParOf" srcId="{AF161DBD-193F-4E53-9953-839E85CF1C7D}" destId="{41EEB0CA-07A8-4FF5-8967-C48F01E36B29}" srcOrd="0" destOrd="0" presId="urn:microsoft.com/office/officeart/2008/layout/VerticalCircleList"/>
    <dgm:cxn modelId="{C67F5D28-DC36-4382-B296-5DA248E657F5}" type="presParOf" srcId="{41EEB0CA-07A8-4FF5-8967-C48F01E36B29}" destId="{AAA1C512-E96F-4798-9282-083A0E274468}" srcOrd="0" destOrd="0" presId="urn:microsoft.com/office/officeart/2008/layout/VerticalCircleList"/>
    <dgm:cxn modelId="{C984BBEA-8DBA-40F5-B105-73E5CD81EF84}" type="presParOf" srcId="{41EEB0CA-07A8-4FF5-8967-C48F01E36B29}" destId="{74BC567D-A420-4605-8CAF-34A3430FBCC5}" srcOrd="1" destOrd="0" presId="urn:microsoft.com/office/officeart/2008/layout/VerticalCircleList"/>
    <dgm:cxn modelId="{879D01FC-7B73-49FE-BBFD-8430AD7A7650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1" minVer="http://schemas.openxmlformats.org/drawingml/2006/diagram"/>
    </a:ext>
  </dgm:extLst>
</dgm:dataModel>
</file>

<file path=ppt/diagrams/data58.xml><?xml version="1.0" encoding="utf-8"?>
<dgm:dataModel xmlns:dgm="http://schemas.openxmlformats.org/drawingml/2006/diagram" xmlns:a="http://schemas.openxmlformats.org/drawingml/2006/main">
  <dgm:ptLst>
    <dgm:pt modelId="{886FCA53-2B50-4919-9D84-B3341636C061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DF7312F5-2151-4B18-9FE3-27B38D9DAE81}">
      <dgm:prSet custT="1"/>
      <dgm:spPr/>
      <dgm:t>
        <a:bodyPr/>
        <a:lstStyle/>
        <a:p>
          <a:pPr rtl="0">
            <a:lnSpc>
              <a:spcPct val="100000"/>
            </a:lnSpc>
            <a:spcAft>
              <a:spcPts val="0"/>
            </a:spcAft>
          </a:pPr>
          <a:r>
            <a:rPr lang="it-IT" sz="1500" b="1" i="0" dirty="0" smtClean="0">
              <a:latin typeface="Calibri" panose="020F0502020204030204" pitchFamily="34" charset="0"/>
            </a:rPr>
            <a:t>Iniziative pilote di scambio transnazionale</a:t>
          </a:r>
          <a:endParaRPr lang="it-IT" sz="1500" b="1" i="0" dirty="0">
            <a:latin typeface="Calibri" panose="020F0502020204030204" pitchFamily="34" charset="0"/>
          </a:endParaRPr>
        </a:p>
      </dgm:t>
    </dgm:pt>
    <dgm:pt modelId="{6C4FDA34-2D2E-48DD-801A-F591B8DE43C2}" type="parTrans" cxnId="{6DD439E5-8FFB-4697-A812-8836783027C9}">
      <dgm:prSet/>
      <dgm:spPr/>
      <dgm:t>
        <a:bodyPr/>
        <a:lstStyle/>
        <a:p>
          <a:endParaRPr lang="it-IT"/>
        </a:p>
      </dgm:t>
    </dgm:pt>
    <dgm:pt modelId="{1C570D37-DE91-4AFB-88E9-38BA7FE09827}" type="sibTrans" cxnId="{6DD439E5-8FFB-4697-A812-8836783027C9}">
      <dgm:prSet/>
      <dgm:spPr/>
      <dgm:t>
        <a:bodyPr/>
        <a:lstStyle/>
        <a:p>
          <a:endParaRPr lang="it-IT"/>
        </a:p>
      </dgm:t>
    </dgm:pt>
    <dgm:pt modelId="{AF161DBD-193F-4E53-9953-839E85CF1C7D}" type="pres">
      <dgm:prSet presAssocID="{886FCA53-2B50-4919-9D84-B3341636C061}" presName="Name0" presStyleCnt="0">
        <dgm:presLayoutVars>
          <dgm:dir/>
        </dgm:presLayoutVars>
      </dgm:prSet>
      <dgm:spPr/>
      <dgm:t>
        <a:bodyPr/>
        <a:lstStyle/>
        <a:p>
          <a:endParaRPr lang="it-IT"/>
        </a:p>
      </dgm:t>
    </dgm:pt>
    <dgm:pt modelId="{41EEB0CA-07A8-4FF5-8967-C48F01E36B29}" type="pres">
      <dgm:prSet presAssocID="{DF7312F5-2151-4B18-9FE3-27B38D9DAE81}" presName="noChildren" presStyleCnt="0"/>
      <dgm:spPr/>
    </dgm:pt>
    <dgm:pt modelId="{AAA1C512-E96F-4798-9282-083A0E274468}" type="pres">
      <dgm:prSet presAssocID="{DF7312F5-2151-4B18-9FE3-27B38D9DAE81}" presName="gap" presStyleCnt="0"/>
      <dgm:spPr/>
    </dgm:pt>
    <dgm:pt modelId="{74BC567D-A420-4605-8CAF-34A3430FBCC5}" type="pres">
      <dgm:prSet presAssocID="{DF7312F5-2151-4B18-9FE3-27B38D9DAE81}" presName="medCircle2" presStyleLbl="vennNode1" presStyleIdx="0" presStyleCnt="1"/>
      <dgm:spPr/>
    </dgm:pt>
    <dgm:pt modelId="{1EF007DE-E38E-41BB-9C84-DBA6EE5550E0}" type="pres">
      <dgm:prSet presAssocID="{DF7312F5-2151-4B18-9FE3-27B38D9DAE81}" presName="txLvlOnly1" presStyleLbl="revTx" presStyleIdx="0" presStyleCnt="1"/>
      <dgm:spPr/>
      <dgm:t>
        <a:bodyPr/>
        <a:lstStyle/>
        <a:p>
          <a:endParaRPr lang="it-IT"/>
        </a:p>
      </dgm:t>
    </dgm:pt>
  </dgm:ptLst>
  <dgm:cxnLst>
    <dgm:cxn modelId="{6DD439E5-8FFB-4697-A812-8836783027C9}" srcId="{886FCA53-2B50-4919-9D84-B3341636C061}" destId="{DF7312F5-2151-4B18-9FE3-27B38D9DAE81}" srcOrd="0" destOrd="0" parTransId="{6C4FDA34-2D2E-48DD-801A-F591B8DE43C2}" sibTransId="{1C570D37-DE91-4AFB-88E9-38BA7FE09827}"/>
    <dgm:cxn modelId="{CEE28F15-E09B-43C2-81B9-B9A013135910}" type="presOf" srcId="{DF7312F5-2151-4B18-9FE3-27B38D9DAE81}" destId="{1EF007DE-E38E-41BB-9C84-DBA6EE5550E0}" srcOrd="0" destOrd="0" presId="urn:microsoft.com/office/officeart/2008/layout/VerticalCircleList"/>
    <dgm:cxn modelId="{3E9CA51D-A365-4A4F-A89B-26A928AEEA63}" type="presOf" srcId="{886FCA53-2B50-4919-9D84-B3341636C061}" destId="{AF161DBD-193F-4E53-9953-839E85CF1C7D}" srcOrd="0" destOrd="0" presId="urn:microsoft.com/office/officeart/2008/layout/VerticalCircleList"/>
    <dgm:cxn modelId="{E3B479CC-1B8D-4916-A824-034165CF73F4}" type="presParOf" srcId="{AF161DBD-193F-4E53-9953-839E85CF1C7D}" destId="{41EEB0CA-07A8-4FF5-8967-C48F01E36B29}" srcOrd="0" destOrd="0" presId="urn:microsoft.com/office/officeart/2008/layout/VerticalCircleList"/>
    <dgm:cxn modelId="{0168E506-13F9-4EF1-8A16-BFE3303B8C1F}" type="presParOf" srcId="{41EEB0CA-07A8-4FF5-8967-C48F01E36B29}" destId="{AAA1C512-E96F-4798-9282-083A0E274468}" srcOrd="0" destOrd="0" presId="urn:microsoft.com/office/officeart/2008/layout/VerticalCircleList"/>
    <dgm:cxn modelId="{9CDBD8B4-85EA-4AD9-B9DE-36A538518BD0}" type="presParOf" srcId="{41EEB0CA-07A8-4FF5-8967-C48F01E36B29}" destId="{74BC567D-A420-4605-8CAF-34A3430FBCC5}" srcOrd="1" destOrd="0" presId="urn:microsoft.com/office/officeart/2008/layout/VerticalCircleList"/>
    <dgm:cxn modelId="{1BD3488F-B814-4308-87C8-91DB4B2904B6}" type="presParOf" srcId="{41EEB0CA-07A8-4FF5-8967-C48F01E36B29}" destId="{1EF007DE-E38E-41BB-9C84-DBA6EE5550E0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86" minVer="http://schemas.openxmlformats.org/drawingml/2006/diagram"/>
    </a:ext>
  </dgm:extLst>
</dgm:dataModel>
</file>

<file path=ppt/diagrams/data59.xml><?xml version="1.0" encoding="utf-8"?>
<dgm:dataModel xmlns:dgm="http://schemas.openxmlformats.org/drawingml/2006/diagram" xmlns:a="http://schemas.openxmlformats.org/drawingml/2006/main">
  <dgm:ptLst>
    <dgm:pt modelId="{3471B385-D51D-4B62-9A6B-249C5AC9C98A}" type="doc">
      <dgm:prSet loTypeId="urn:microsoft.com/office/officeart/2005/8/layout/vList2" loCatId="list" qsTypeId="urn:microsoft.com/office/officeart/2005/8/quickstyle/simple1" qsCatId="simple" csTypeId="urn:microsoft.com/office/officeart/2005/8/colors/accent5_2" csCatId="accent5"/>
      <dgm:spPr/>
      <dgm:t>
        <a:bodyPr/>
        <a:lstStyle/>
        <a:p>
          <a:endParaRPr lang="it-IT"/>
        </a:p>
      </dgm:t>
    </dgm:pt>
    <dgm:pt modelId="{3A5B02CC-7645-4578-B93E-5BB7EC17E14F}">
      <dgm:prSet custT="1"/>
      <dgm:spPr/>
      <dgm:t>
        <a:bodyPr/>
        <a:lstStyle/>
        <a:p>
          <a:pPr algn="ctr" rtl="0"/>
          <a:r>
            <a:rPr lang="it-IT" sz="1800" b="1" dirty="0" smtClean="0"/>
            <a:t>Delimitazione Perimetro d’Ambito </a:t>
          </a:r>
          <a:endParaRPr lang="it-IT" sz="1800" b="1" dirty="0"/>
        </a:p>
      </dgm:t>
    </dgm:pt>
    <dgm:pt modelId="{351EEFE8-C4BB-4CB7-AEBE-8201FB869313}" type="par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32FBC651-736E-4FFF-A514-285EE5B82172}" type="sibTrans" cxnId="{1503FA43-4BF0-43A7-9A00-7EAC2347F067}">
      <dgm:prSet/>
      <dgm:spPr/>
      <dgm:t>
        <a:bodyPr/>
        <a:lstStyle/>
        <a:p>
          <a:pPr algn="ctr"/>
          <a:endParaRPr lang="it-IT"/>
        </a:p>
      </dgm:t>
    </dgm:pt>
    <dgm:pt modelId="{0931DA6C-1101-4D88-9476-40F778BD96D7}" type="pres">
      <dgm:prSet presAssocID="{3471B385-D51D-4B62-9A6B-249C5AC9C98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EA40DB6F-53FC-4451-8412-D98A1010BCCC}" type="pres">
      <dgm:prSet presAssocID="{3A5B02CC-7645-4578-B93E-5BB7EC17E14F}" presName="parentText" presStyleLbl="node1" presStyleIdx="0" presStyleCnt="1" custLinFactY="75489" custLinFactNeighborX="5909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03FA43-4BF0-43A7-9A00-7EAC2347F067}" srcId="{3471B385-D51D-4B62-9A6B-249C5AC9C98A}" destId="{3A5B02CC-7645-4578-B93E-5BB7EC17E14F}" srcOrd="0" destOrd="0" parTransId="{351EEFE8-C4BB-4CB7-AEBE-8201FB869313}" sibTransId="{32FBC651-736E-4FFF-A514-285EE5B82172}"/>
    <dgm:cxn modelId="{B11FD03B-C739-48BB-8894-DC0986E2362D}" type="presOf" srcId="{3A5B02CC-7645-4578-B93E-5BB7EC17E14F}" destId="{EA40DB6F-53FC-4451-8412-D98A1010BCCC}" srcOrd="0" destOrd="0" presId="urn:microsoft.com/office/officeart/2005/8/layout/vList2"/>
    <dgm:cxn modelId="{9B8138EC-5A1B-47B2-9316-8D5290100DE3}" type="presOf" srcId="{3471B385-D51D-4B62-9A6B-249C5AC9C98A}" destId="{0931DA6C-1101-4D88-9476-40F778BD96D7}" srcOrd="0" destOrd="0" presId="urn:microsoft.com/office/officeart/2005/8/layout/vList2"/>
    <dgm:cxn modelId="{AB28BD23-C2B3-4CFE-9DC3-930244FFE71D}" type="presParOf" srcId="{0931DA6C-1101-4D88-9476-40F778BD96D7}" destId="{EA40DB6F-53FC-4451-8412-D98A1010BC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4400" b="1" dirty="0" smtClean="0"/>
            <a:t>Avvio tavolo</a:t>
          </a:r>
        </a:p>
        <a:p>
          <a:r>
            <a:rPr lang="it-IT" sz="4400" b="1" dirty="0" smtClean="0"/>
            <a:t>8 maggio 2014</a:t>
          </a:r>
          <a:endParaRPr lang="it-IT" sz="4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/>
        </a:p>
      </dgm:t>
    </dgm:pt>
    <dgm:pt modelId="{FA935D20-D649-4F38-A41B-69E90530D632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Avere il quadro chiaro dove inserire il proprio contributo</a:t>
          </a:r>
          <a:endParaRPr lang="it-IT" sz="3600" b="0" dirty="0">
            <a:solidFill>
              <a:schemeClr val="accent1"/>
            </a:solidFill>
          </a:endParaRPr>
        </a:p>
      </dgm:t>
    </dgm:pt>
    <dgm:pt modelId="{BFFBD901-FEFF-45F6-A478-CF6D74317EA2}" type="parTrans" cxnId="{E76A9A63-FF32-4781-921F-6A2A67CD1E02}">
      <dgm:prSet/>
      <dgm:spPr/>
      <dgm:t>
        <a:bodyPr/>
        <a:lstStyle/>
        <a:p>
          <a:endParaRPr lang="it-IT"/>
        </a:p>
      </dgm:t>
    </dgm:pt>
    <dgm:pt modelId="{75DA65DA-F2A3-4A8F-8248-871D3727B6B8}" type="sibTrans" cxnId="{E76A9A63-FF32-4781-921F-6A2A67CD1E02}">
      <dgm:prSet/>
      <dgm:spPr/>
      <dgm:t>
        <a:bodyPr/>
        <a:lstStyle/>
        <a:p>
          <a:endParaRPr lang="it-IT"/>
        </a:p>
      </dgm:t>
    </dgm:pt>
    <dgm:pt modelId="{D446E03B-A085-4EAF-A9D7-21D9E631073A}">
      <dgm:prSet phldrT="[Testo]" custT="1"/>
      <dgm:spPr/>
      <dgm:t>
        <a:bodyPr/>
        <a:lstStyle/>
        <a:p>
          <a:r>
            <a:rPr lang="it-IT" sz="3600" b="0" dirty="0" smtClean="0">
              <a:solidFill>
                <a:schemeClr val="accent1"/>
              </a:solidFill>
            </a:rPr>
            <a:t>Definire le modalità per l’elaborazione e/o l’invio del contributo</a:t>
          </a:r>
          <a:endParaRPr lang="it-IT" sz="3600" b="0" dirty="0">
            <a:solidFill>
              <a:schemeClr val="accent1"/>
            </a:solidFill>
          </a:endParaRPr>
        </a:p>
      </dgm:t>
    </dgm:pt>
    <dgm:pt modelId="{44FDFF5D-A5FE-4F6B-89B8-1FCC632B967C}" type="parTrans" cxnId="{BB9A4BB3-9E3F-4768-AB03-3A5823740DAC}">
      <dgm:prSet/>
      <dgm:spPr/>
    </dgm:pt>
    <dgm:pt modelId="{A44EEB28-BFA3-4413-89F9-8106007D5EF7}" type="sibTrans" cxnId="{BB9A4BB3-9E3F-4768-AB03-3A5823740DAC}">
      <dgm:prSet/>
      <dgm:spPr/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LinFactNeighborY="-1519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9C3370D-7B6A-4F3C-8C78-C38DF1D2FA31}" type="pres">
      <dgm:prSet presAssocID="{F23A2E33-A7A9-4C0C-9E2D-FE9B09B27B0C}" presName="descendantText" presStyleLbl="alignAccFollowNode1" presStyleIdx="0" presStyleCnt="1" custLinFactNeighborY="-514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D0FC079-3FE2-4E51-A91A-7E2BEA3C689B}" type="presOf" srcId="{FA935D20-D649-4F38-A41B-69E90530D632}" destId="{19C3370D-7B6A-4F3C-8C78-C38DF1D2FA31}" srcOrd="0" destOrd="0" presId="urn:microsoft.com/office/officeart/2005/8/layout/vList5"/>
    <dgm:cxn modelId="{724E4F33-2C28-4AED-9682-0DBD1FE4BB38}" type="presOf" srcId="{F23A2E33-A7A9-4C0C-9E2D-FE9B09B27B0C}" destId="{4B75031E-EAE2-44AE-A204-79AAE3CD8BF2}" srcOrd="0" destOrd="0" presId="urn:microsoft.com/office/officeart/2005/8/layout/vList5"/>
    <dgm:cxn modelId="{D7D86B66-960E-4E9C-897A-9577ED6E0889}" type="presOf" srcId="{D446E03B-A085-4EAF-A9D7-21D9E631073A}" destId="{19C3370D-7B6A-4F3C-8C78-C38DF1D2FA31}" srcOrd="0" destOrd="1" presId="urn:microsoft.com/office/officeart/2005/8/layout/vList5"/>
    <dgm:cxn modelId="{BB9A4BB3-9E3F-4768-AB03-3A5823740DAC}" srcId="{F23A2E33-A7A9-4C0C-9E2D-FE9B09B27B0C}" destId="{D446E03B-A085-4EAF-A9D7-21D9E631073A}" srcOrd="1" destOrd="0" parTransId="{44FDFF5D-A5FE-4F6B-89B8-1FCC632B967C}" sibTransId="{A44EEB28-BFA3-4413-89F9-8106007D5EF7}"/>
    <dgm:cxn modelId="{E76A9A63-FF32-4781-921F-6A2A67CD1E02}" srcId="{F23A2E33-A7A9-4C0C-9E2D-FE9B09B27B0C}" destId="{FA935D20-D649-4F38-A41B-69E90530D632}" srcOrd="0" destOrd="0" parTransId="{BFFBD901-FEFF-45F6-A478-CF6D74317EA2}" sibTransId="{75DA65DA-F2A3-4A8F-8248-871D3727B6B8}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237AEBFF-8ED9-4C70-97FE-9451E2D65E07}" type="presOf" srcId="{BE3B8733-AE13-4A7B-A32B-B74DE4C528D7}" destId="{67CAF0F0-11C7-41D4-B458-17DD1ACC65D7}" srcOrd="0" destOrd="0" presId="urn:microsoft.com/office/officeart/2005/8/layout/vList5"/>
    <dgm:cxn modelId="{B0BBFA34-D6D0-4F97-99CE-1C54BF8E68AC}" type="presParOf" srcId="{67CAF0F0-11C7-41D4-B458-17DD1ACC65D7}" destId="{91EF4C2B-0965-4D66-A48D-ECB7ACAE5C2D}" srcOrd="0" destOrd="0" presId="urn:microsoft.com/office/officeart/2005/8/layout/vList5"/>
    <dgm:cxn modelId="{6F76331B-B50A-49AF-BA4E-4A43CEBDCFAA}" type="presParOf" srcId="{91EF4C2B-0965-4D66-A48D-ECB7ACAE5C2D}" destId="{4B75031E-EAE2-44AE-A204-79AAE3CD8BF2}" srcOrd="0" destOrd="0" presId="urn:microsoft.com/office/officeart/2005/8/layout/vList5"/>
    <dgm:cxn modelId="{0EE5EA2C-3CC0-4A38-974F-55A1EFFD9578}" type="presParOf" srcId="{91EF4C2B-0965-4D66-A48D-ECB7ACAE5C2D}" destId="{19C3370D-7B6A-4F3C-8C78-C38DF1D2FA3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0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D9E3CDE0-A721-44B0-8739-00EF62FA845E}" type="presOf" srcId="{E4C7AF03-E2BD-4E48-8DAB-C1261D3D7EA9}" destId="{21D380AD-5D38-4835-9FB5-615E5454C686}" srcOrd="1" destOrd="0" presId="urn:microsoft.com/office/officeart/2005/8/layout/list1"/>
    <dgm:cxn modelId="{78723CFE-928B-4736-8E3D-88A4B394A50A}" type="presOf" srcId="{188FD03C-7D6A-4D29-8FCB-9C1383057E36}" destId="{C08F212E-D010-4B1B-884C-243E8BB88BD2}" srcOrd="0" destOrd="0" presId="urn:microsoft.com/office/officeart/2005/8/layout/list1"/>
    <dgm:cxn modelId="{F3316FBB-6F06-4787-8E20-B772C5FB8791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0DF1958F-FAC8-46C5-BB78-BDC79376D8B3}" type="presParOf" srcId="{C08F212E-D010-4B1B-884C-243E8BB88BD2}" destId="{A042C0D5-6636-40E8-83EA-703099528EDB}" srcOrd="0" destOrd="0" presId="urn:microsoft.com/office/officeart/2005/8/layout/list1"/>
    <dgm:cxn modelId="{981C1B68-3C5D-44AB-8D67-33926A8410C5}" type="presParOf" srcId="{A042C0D5-6636-40E8-83EA-703099528EDB}" destId="{03DB856F-DE91-4CA0-AD05-B356DE21BFDC}" srcOrd="0" destOrd="0" presId="urn:microsoft.com/office/officeart/2005/8/layout/list1"/>
    <dgm:cxn modelId="{CA24D98C-A77B-499A-9768-1A324A82C89E}" type="presParOf" srcId="{A042C0D5-6636-40E8-83EA-703099528EDB}" destId="{21D380AD-5D38-4835-9FB5-615E5454C686}" srcOrd="1" destOrd="0" presId="urn:microsoft.com/office/officeart/2005/8/layout/list1"/>
    <dgm:cxn modelId="{18C24C3F-790B-42A4-8659-4B7FA81714A1}" type="presParOf" srcId="{C08F212E-D010-4B1B-884C-243E8BB88BD2}" destId="{E77B3B8A-36B6-4AF7-9D59-DF889FA8E07C}" srcOrd="1" destOrd="0" presId="urn:microsoft.com/office/officeart/2005/8/layout/list1"/>
    <dgm:cxn modelId="{E78F5D6E-E1BF-4522-B71A-4C2E83802700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1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2926262E-71D5-48DD-9598-D05362D4C0E2}" type="presOf" srcId="{72D59079-C521-4525-81A4-701D931A8233}" destId="{9CE9EFE3-4E69-404A-8A99-59388A9E3922}" srcOrd="0" destOrd="0" presId="urn:microsoft.com/office/officeart/2005/8/layout/chevronAccent+Icon"/>
    <dgm:cxn modelId="{3B2ACD86-E7F2-45B7-BDE5-38663DA049C5}" type="presOf" srcId="{9AF403A6-2C5C-4F1B-B787-47496D3DBC71}" destId="{639FA514-32E4-4E31-8688-3C040A3F30E9}" srcOrd="0" destOrd="0" presId="urn:microsoft.com/office/officeart/2005/8/layout/chevronAccent+Icon"/>
    <dgm:cxn modelId="{5AD841F3-23E2-4075-8E8F-EF42E7E4AAD2}" type="presParOf" srcId="{639FA514-32E4-4E31-8688-3C040A3F30E9}" destId="{F100BA9B-D4E3-421F-B5D8-42E4C50A115C}" srcOrd="0" destOrd="0" presId="urn:microsoft.com/office/officeart/2005/8/layout/chevronAccent+Icon"/>
    <dgm:cxn modelId="{6A2F3BFA-9C30-432F-95FF-950D7872F5DD}" type="presParOf" srcId="{F100BA9B-D4E3-421F-B5D8-42E4C50A115C}" destId="{51AD98A5-0898-43D1-8FB1-9AA58104A73C}" srcOrd="0" destOrd="0" presId="urn:microsoft.com/office/officeart/2005/8/layout/chevronAccent+Icon"/>
    <dgm:cxn modelId="{A5B119DB-F89A-40CF-A512-D00192D95547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2.xml><?xml version="1.0" encoding="utf-8"?>
<dgm:dataModel xmlns:dgm="http://schemas.openxmlformats.org/drawingml/2006/diagram" xmlns:a="http://schemas.openxmlformats.org/drawingml/2006/main">
  <dgm:ptLst>
    <dgm:pt modelId="{68FAABA5-0255-4A28-ACCC-F0E7004F0A6D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it-IT"/>
        </a:p>
      </dgm:t>
    </dgm:pt>
    <dgm:pt modelId="{C6307FA4-4A4D-4811-BF35-22E905045F4C}">
      <dgm:prSet/>
      <dgm:spPr/>
      <dgm:t>
        <a:bodyPr/>
        <a:lstStyle/>
        <a:p>
          <a:pPr algn="just" rtl="0"/>
          <a:r>
            <a:rPr lang="it-IT" dirty="0" smtClean="0"/>
            <a:t>A livello europeo l’ambito </a:t>
          </a:r>
          <a:r>
            <a:rPr lang="it-IT" b="1" dirty="0" smtClean="0"/>
            <a:t>ECONOMIA DEL MARE  </a:t>
          </a:r>
          <a:r>
            <a:rPr lang="it-IT" dirty="0" smtClean="0"/>
            <a:t>è sostenuto dal Terzo Programma Quadro (FP3, 1990-1993) che getta le basi attraverso le fasi preparatorie (</a:t>
          </a:r>
          <a:r>
            <a:rPr lang="it-IT" i="1" dirty="0" err="1" smtClean="0"/>
            <a:t>Feasibility</a:t>
          </a:r>
          <a:r>
            <a:rPr lang="it-IT" i="1" dirty="0" smtClean="0"/>
            <a:t> </a:t>
          </a:r>
          <a:r>
            <a:rPr lang="it-IT" i="1" dirty="0" err="1" smtClean="0"/>
            <a:t>Study</a:t>
          </a:r>
          <a:r>
            <a:rPr lang="it-IT" i="1" dirty="0" smtClean="0"/>
            <a:t> delle </a:t>
          </a:r>
          <a:r>
            <a:rPr lang="it-IT" i="1" dirty="0" err="1" smtClean="0"/>
            <a:t>infratrutture</a:t>
          </a:r>
          <a:r>
            <a:rPr lang="it-IT" dirty="0" smtClean="0"/>
            <a:t>). </a:t>
          </a:r>
          <a:r>
            <a:rPr lang="it-IT" b="1" dirty="0" smtClean="0"/>
            <a:t>Ma</a:t>
          </a:r>
          <a:r>
            <a:rPr lang="it-IT" dirty="0" smtClean="0"/>
            <a:t>rine </a:t>
          </a:r>
          <a:r>
            <a:rPr lang="it-IT" b="1" dirty="0" smtClean="0"/>
            <a:t>S</a:t>
          </a:r>
          <a:r>
            <a:rPr lang="it-IT" dirty="0" smtClean="0"/>
            <a:t>cience and </a:t>
          </a:r>
          <a:r>
            <a:rPr lang="it-IT" b="1" dirty="0" smtClean="0"/>
            <a:t>T</a:t>
          </a:r>
          <a:r>
            <a:rPr lang="it-IT" dirty="0" smtClean="0"/>
            <a:t>echnology Programme 1994-1998 (MAST) ha l’obiettivo di sviluppare la base scientifica e tecnologica per lo sfruttamento sostenibile dei sistemi marini, oltre a determinare il loro ruolo preciso nel cambiamento globale. La terza fase del programma MAST, avviato nell'ambito del Quarto programma quadro di RST (1994-1998),</a:t>
          </a:r>
          <a:r>
            <a:rPr lang="it-IT" b="1" dirty="0" smtClean="0"/>
            <a:t> </a:t>
          </a:r>
          <a:r>
            <a:rPr lang="it-IT" dirty="0" smtClean="0"/>
            <a:t>si è concentrata su quattro aree di ricerca: </a:t>
          </a:r>
          <a:endParaRPr lang="it-IT" dirty="0"/>
        </a:p>
      </dgm:t>
    </dgm:pt>
    <dgm:pt modelId="{7E7CBDAC-189F-44EB-BFBF-593400759864}" type="parTrans" cxnId="{35D8ABC3-E34A-469F-AFBA-360067521488}">
      <dgm:prSet/>
      <dgm:spPr/>
      <dgm:t>
        <a:bodyPr/>
        <a:lstStyle/>
        <a:p>
          <a:endParaRPr lang="it-IT"/>
        </a:p>
      </dgm:t>
    </dgm:pt>
    <dgm:pt modelId="{91E29DE0-E593-4C6F-98E0-8E27569587EB}" type="sibTrans" cxnId="{35D8ABC3-E34A-469F-AFBA-360067521488}">
      <dgm:prSet/>
      <dgm:spPr/>
      <dgm:t>
        <a:bodyPr/>
        <a:lstStyle/>
        <a:p>
          <a:endParaRPr lang="it-IT"/>
        </a:p>
      </dgm:t>
    </dgm:pt>
    <dgm:pt modelId="{DC9A7009-88E2-4390-972D-3B3838FBA8FA}">
      <dgm:prSet/>
      <dgm:spPr/>
      <dgm:t>
        <a:bodyPr/>
        <a:lstStyle/>
        <a:p>
          <a:pPr rtl="0"/>
          <a:r>
            <a:rPr lang="it-IT" dirty="0" smtClean="0"/>
            <a:t>• </a:t>
          </a:r>
          <a:r>
            <a:rPr lang="it-IT" b="1" dirty="0" smtClean="0"/>
            <a:t>Scienze Marine </a:t>
          </a:r>
          <a:endParaRPr lang="it-IT" b="1" dirty="0"/>
        </a:p>
      </dgm:t>
    </dgm:pt>
    <dgm:pt modelId="{E90AE791-B7F3-466B-A2AC-B304F147DDF1}" type="parTrans" cxnId="{89DB5766-6DE6-4265-9117-5773DAE8AC45}">
      <dgm:prSet/>
      <dgm:spPr/>
      <dgm:t>
        <a:bodyPr/>
        <a:lstStyle/>
        <a:p>
          <a:endParaRPr lang="it-IT"/>
        </a:p>
      </dgm:t>
    </dgm:pt>
    <dgm:pt modelId="{B2830019-7851-485B-983F-826DECF58276}" type="sibTrans" cxnId="{89DB5766-6DE6-4265-9117-5773DAE8AC45}">
      <dgm:prSet/>
      <dgm:spPr/>
      <dgm:t>
        <a:bodyPr/>
        <a:lstStyle/>
        <a:p>
          <a:endParaRPr lang="it-IT"/>
        </a:p>
      </dgm:t>
    </dgm:pt>
    <dgm:pt modelId="{8CBB83D5-485F-4BE3-B9F4-2A5359571C79}">
      <dgm:prSet/>
      <dgm:spPr/>
      <dgm:t>
        <a:bodyPr/>
        <a:lstStyle/>
        <a:p>
          <a:pPr rtl="0"/>
          <a:r>
            <a:rPr lang="it-IT" dirty="0" smtClean="0"/>
            <a:t>• </a:t>
          </a:r>
          <a:r>
            <a:rPr lang="it-IT" b="1" dirty="0" smtClean="0"/>
            <a:t>Ricerca marina strategica </a:t>
          </a:r>
          <a:endParaRPr lang="it-IT" b="1" dirty="0"/>
        </a:p>
      </dgm:t>
    </dgm:pt>
    <dgm:pt modelId="{16FEFBC9-72C7-41B5-A44B-78235F414069}" type="parTrans" cxnId="{BDECA5CB-0866-409E-8C2B-DDA49D40C45E}">
      <dgm:prSet/>
      <dgm:spPr/>
      <dgm:t>
        <a:bodyPr/>
        <a:lstStyle/>
        <a:p>
          <a:endParaRPr lang="it-IT"/>
        </a:p>
      </dgm:t>
    </dgm:pt>
    <dgm:pt modelId="{48565286-7FD6-452D-B829-7AA0CBC1E08C}" type="sibTrans" cxnId="{BDECA5CB-0866-409E-8C2B-DDA49D40C45E}">
      <dgm:prSet/>
      <dgm:spPr/>
      <dgm:t>
        <a:bodyPr/>
        <a:lstStyle/>
        <a:p>
          <a:endParaRPr lang="it-IT"/>
        </a:p>
      </dgm:t>
    </dgm:pt>
    <dgm:pt modelId="{1FEC4314-D2C8-4470-9196-27D4EA9F6BF6}">
      <dgm:prSet/>
      <dgm:spPr/>
      <dgm:t>
        <a:bodyPr/>
        <a:lstStyle/>
        <a:p>
          <a:pPr rtl="0"/>
          <a:r>
            <a:rPr lang="it-IT" dirty="0" smtClean="0"/>
            <a:t>• </a:t>
          </a:r>
          <a:r>
            <a:rPr lang="it-IT" b="1" dirty="0" smtClean="0"/>
            <a:t>Tecnologia Marine </a:t>
          </a:r>
          <a:endParaRPr lang="it-IT" b="1" dirty="0"/>
        </a:p>
      </dgm:t>
    </dgm:pt>
    <dgm:pt modelId="{1EAC6580-9604-42DB-88E3-FD0D865A12C1}" type="parTrans" cxnId="{A5CEA1F5-0323-49A7-A0BC-E2C33009648E}">
      <dgm:prSet/>
      <dgm:spPr/>
      <dgm:t>
        <a:bodyPr/>
        <a:lstStyle/>
        <a:p>
          <a:endParaRPr lang="it-IT"/>
        </a:p>
      </dgm:t>
    </dgm:pt>
    <dgm:pt modelId="{704FA282-283F-4618-8933-3AB70A09FE53}" type="sibTrans" cxnId="{A5CEA1F5-0323-49A7-A0BC-E2C33009648E}">
      <dgm:prSet/>
      <dgm:spPr/>
      <dgm:t>
        <a:bodyPr/>
        <a:lstStyle/>
        <a:p>
          <a:endParaRPr lang="it-IT"/>
        </a:p>
      </dgm:t>
    </dgm:pt>
    <dgm:pt modelId="{0FBB43FF-7EA8-4C52-ABC4-0EEDDE580316}">
      <dgm:prSet/>
      <dgm:spPr/>
      <dgm:t>
        <a:bodyPr/>
        <a:lstStyle/>
        <a:p>
          <a:pPr rtl="0"/>
          <a:r>
            <a:rPr lang="it-IT" b="1" dirty="0" smtClean="0"/>
            <a:t>Sostenere iniziative</a:t>
          </a:r>
          <a:endParaRPr lang="it-IT" b="1" dirty="0"/>
        </a:p>
      </dgm:t>
    </dgm:pt>
    <dgm:pt modelId="{B4948A13-DED3-4502-B3B5-AEE7E430E2FD}" type="parTrans" cxnId="{383B4165-40E5-49D8-942D-922EE03DC865}">
      <dgm:prSet/>
      <dgm:spPr/>
      <dgm:t>
        <a:bodyPr/>
        <a:lstStyle/>
        <a:p>
          <a:endParaRPr lang="it-IT"/>
        </a:p>
      </dgm:t>
    </dgm:pt>
    <dgm:pt modelId="{EFAD28C5-8BB4-4D0C-9E63-8303E523FB36}" type="sibTrans" cxnId="{383B4165-40E5-49D8-942D-922EE03DC865}">
      <dgm:prSet/>
      <dgm:spPr/>
      <dgm:t>
        <a:bodyPr/>
        <a:lstStyle/>
        <a:p>
          <a:endParaRPr lang="it-IT"/>
        </a:p>
      </dgm:t>
    </dgm:pt>
    <dgm:pt modelId="{960B1063-509F-4619-9DCD-40BE680A2F07}" type="pres">
      <dgm:prSet presAssocID="{68FAABA5-0255-4A28-ACCC-F0E7004F0A6D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36761417-BEB6-4805-A512-975EAF68106A}" type="pres">
      <dgm:prSet presAssocID="{C6307FA4-4A4D-4811-BF35-22E905045F4C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870973C-1C80-4ED7-B525-593BAEDC9115}" type="pres">
      <dgm:prSet presAssocID="{91E29DE0-E593-4C6F-98E0-8E27569587EB}" presName="spacer" presStyleCnt="0"/>
      <dgm:spPr/>
    </dgm:pt>
    <dgm:pt modelId="{CE4BE37B-BF18-4195-AD15-CD9174D06114}" type="pres">
      <dgm:prSet presAssocID="{DC9A7009-88E2-4390-972D-3B3838FBA8FA}" presName="parentText" presStyleLbl="node1" presStyleIdx="1" presStyleCnt="5" custScaleY="31538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E3B334A-8379-4F37-819D-AF9C1D59BE72}" type="pres">
      <dgm:prSet presAssocID="{B2830019-7851-485B-983F-826DECF58276}" presName="spacer" presStyleCnt="0"/>
      <dgm:spPr/>
    </dgm:pt>
    <dgm:pt modelId="{69458446-B8CD-44C8-A694-A2DB6D87904B}" type="pres">
      <dgm:prSet presAssocID="{8CBB83D5-485F-4BE3-B9F4-2A5359571C79}" presName="parentText" presStyleLbl="node1" presStyleIdx="2" presStyleCnt="5" custScaleY="30418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E25D04F-4472-46B3-B965-25ED97CEE299}" type="pres">
      <dgm:prSet presAssocID="{48565286-7FD6-452D-B829-7AA0CBC1E08C}" presName="spacer" presStyleCnt="0"/>
      <dgm:spPr/>
    </dgm:pt>
    <dgm:pt modelId="{6B2488C1-FD55-42C3-9897-B6A644C4112E}" type="pres">
      <dgm:prSet presAssocID="{1FEC4314-D2C8-4470-9196-27D4EA9F6BF6}" presName="parentText" presStyleLbl="node1" presStyleIdx="3" presStyleCnt="5" custScaleY="3316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6DE8824F-1F7C-474E-9CAA-328036B98B6A}" type="pres">
      <dgm:prSet presAssocID="{704FA282-283F-4618-8933-3AB70A09FE53}" presName="spacer" presStyleCnt="0"/>
      <dgm:spPr/>
    </dgm:pt>
    <dgm:pt modelId="{E57595F0-48AB-4B34-A030-F8223A7ECDEF}" type="pres">
      <dgm:prSet presAssocID="{0FBB43FF-7EA8-4C52-ABC4-0EEDDE580316}" presName="parentText" presStyleLbl="node1" presStyleIdx="4" presStyleCnt="5" custScaleY="30083" custLinFactNeighborX="-15385" custLinFactNeighborY="-75505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E15B5D1-D41C-4DF9-A02E-5EB2AB7196D0}" type="presOf" srcId="{8CBB83D5-485F-4BE3-B9F4-2A5359571C79}" destId="{69458446-B8CD-44C8-A694-A2DB6D87904B}" srcOrd="0" destOrd="0" presId="urn:microsoft.com/office/officeart/2005/8/layout/vList2"/>
    <dgm:cxn modelId="{89DB5766-6DE6-4265-9117-5773DAE8AC45}" srcId="{68FAABA5-0255-4A28-ACCC-F0E7004F0A6D}" destId="{DC9A7009-88E2-4390-972D-3B3838FBA8FA}" srcOrd="1" destOrd="0" parTransId="{E90AE791-B7F3-466B-A2AC-B304F147DDF1}" sibTransId="{B2830019-7851-485B-983F-826DECF58276}"/>
    <dgm:cxn modelId="{FBF90A0C-722B-4264-AE5A-B26090EBE116}" type="presOf" srcId="{1FEC4314-D2C8-4470-9196-27D4EA9F6BF6}" destId="{6B2488C1-FD55-42C3-9897-B6A644C4112E}" srcOrd="0" destOrd="0" presId="urn:microsoft.com/office/officeart/2005/8/layout/vList2"/>
    <dgm:cxn modelId="{F4B86186-A514-4E48-A0C3-D9B6A7D12FEE}" type="presOf" srcId="{0FBB43FF-7EA8-4C52-ABC4-0EEDDE580316}" destId="{E57595F0-48AB-4B34-A030-F8223A7ECDEF}" srcOrd="0" destOrd="0" presId="urn:microsoft.com/office/officeart/2005/8/layout/vList2"/>
    <dgm:cxn modelId="{383B4165-40E5-49D8-942D-922EE03DC865}" srcId="{68FAABA5-0255-4A28-ACCC-F0E7004F0A6D}" destId="{0FBB43FF-7EA8-4C52-ABC4-0EEDDE580316}" srcOrd="4" destOrd="0" parTransId="{B4948A13-DED3-4502-B3B5-AEE7E430E2FD}" sibTransId="{EFAD28C5-8BB4-4D0C-9E63-8303E523FB36}"/>
    <dgm:cxn modelId="{A5CEA1F5-0323-49A7-A0BC-E2C33009648E}" srcId="{68FAABA5-0255-4A28-ACCC-F0E7004F0A6D}" destId="{1FEC4314-D2C8-4470-9196-27D4EA9F6BF6}" srcOrd="3" destOrd="0" parTransId="{1EAC6580-9604-42DB-88E3-FD0D865A12C1}" sibTransId="{704FA282-283F-4618-8933-3AB70A09FE53}"/>
    <dgm:cxn modelId="{310857DB-9CDB-4179-925C-1FBA70B7BAAC}" type="presOf" srcId="{68FAABA5-0255-4A28-ACCC-F0E7004F0A6D}" destId="{960B1063-509F-4619-9DCD-40BE680A2F07}" srcOrd="0" destOrd="0" presId="urn:microsoft.com/office/officeart/2005/8/layout/vList2"/>
    <dgm:cxn modelId="{35D8ABC3-E34A-469F-AFBA-360067521488}" srcId="{68FAABA5-0255-4A28-ACCC-F0E7004F0A6D}" destId="{C6307FA4-4A4D-4811-BF35-22E905045F4C}" srcOrd="0" destOrd="0" parTransId="{7E7CBDAC-189F-44EB-BFBF-593400759864}" sibTransId="{91E29DE0-E593-4C6F-98E0-8E27569587EB}"/>
    <dgm:cxn modelId="{BDECA5CB-0866-409E-8C2B-DDA49D40C45E}" srcId="{68FAABA5-0255-4A28-ACCC-F0E7004F0A6D}" destId="{8CBB83D5-485F-4BE3-B9F4-2A5359571C79}" srcOrd="2" destOrd="0" parTransId="{16FEFBC9-72C7-41B5-A44B-78235F414069}" sibTransId="{48565286-7FD6-452D-B829-7AA0CBC1E08C}"/>
    <dgm:cxn modelId="{E2A1320D-28C0-4751-88AC-E6A936158868}" type="presOf" srcId="{DC9A7009-88E2-4390-972D-3B3838FBA8FA}" destId="{CE4BE37B-BF18-4195-AD15-CD9174D06114}" srcOrd="0" destOrd="0" presId="urn:microsoft.com/office/officeart/2005/8/layout/vList2"/>
    <dgm:cxn modelId="{5DE8F024-0E21-4472-AEC3-0C0436950820}" type="presOf" srcId="{C6307FA4-4A4D-4811-BF35-22E905045F4C}" destId="{36761417-BEB6-4805-A512-975EAF68106A}" srcOrd="0" destOrd="0" presId="urn:microsoft.com/office/officeart/2005/8/layout/vList2"/>
    <dgm:cxn modelId="{0B67EFD5-ED98-42E5-B012-C629F5CBE3F0}" type="presParOf" srcId="{960B1063-509F-4619-9DCD-40BE680A2F07}" destId="{36761417-BEB6-4805-A512-975EAF68106A}" srcOrd="0" destOrd="0" presId="urn:microsoft.com/office/officeart/2005/8/layout/vList2"/>
    <dgm:cxn modelId="{334B7BD6-0D26-4BB6-BBAC-92ED998567A8}" type="presParOf" srcId="{960B1063-509F-4619-9DCD-40BE680A2F07}" destId="{8870973C-1C80-4ED7-B525-593BAEDC9115}" srcOrd="1" destOrd="0" presId="urn:microsoft.com/office/officeart/2005/8/layout/vList2"/>
    <dgm:cxn modelId="{DC4F6FA0-5454-4F05-8A5B-8EB655E13ADA}" type="presParOf" srcId="{960B1063-509F-4619-9DCD-40BE680A2F07}" destId="{CE4BE37B-BF18-4195-AD15-CD9174D06114}" srcOrd="2" destOrd="0" presId="urn:microsoft.com/office/officeart/2005/8/layout/vList2"/>
    <dgm:cxn modelId="{70DF6EA9-D6E3-498D-9D8B-08477016582A}" type="presParOf" srcId="{960B1063-509F-4619-9DCD-40BE680A2F07}" destId="{0E3B334A-8379-4F37-819D-AF9C1D59BE72}" srcOrd="3" destOrd="0" presId="urn:microsoft.com/office/officeart/2005/8/layout/vList2"/>
    <dgm:cxn modelId="{F22B52E1-D993-4896-BB9B-11C9E39D610D}" type="presParOf" srcId="{960B1063-509F-4619-9DCD-40BE680A2F07}" destId="{69458446-B8CD-44C8-A694-A2DB6D87904B}" srcOrd="4" destOrd="0" presId="urn:microsoft.com/office/officeart/2005/8/layout/vList2"/>
    <dgm:cxn modelId="{3ADFFA67-8D18-42C0-B4E4-28B5E087B44F}" type="presParOf" srcId="{960B1063-509F-4619-9DCD-40BE680A2F07}" destId="{BE25D04F-4472-46B3-B965-25ED97CEE299}" srcOrd="5" destOrd="0" presId="urn:microsoft.com/office/officeart/2005/8/layout/vList2"/>
    <dgm:cxn modelId="{317100C4-3A5A-456A-B7CC-E3187A806B82}" type="presParOf" srcId="{960B1063-509F-4619-9DCD-40BE680A2F07}" destId="{6B2488C1-FD55-42C3-9897-B6A644C4112E}" srcOrd="6" destOrd="0" presId="urn:microsoft.com/office/officeart/2005/8/layout/vList2"/>
    <dgm:cxn modelId="{F47A9A9C-762D-49B7-A892-0B37B1A39EF9}" type="presParOf" srcId="{960B1063-509F-4619-9DCD-40BE680A2F07}" destId="{6DE8824F-1F7C-474E-9CAA-328036B98B6A}" srcOrd="7" destOrd="0" presId="urn:microsoft.com/office/officeart/2005/8/layout/vList2"/>
    <dgm:cxn modelId="{43C09565-2744-419A-A484-E1749BC91E4F}" type="presParOf" srcId="{960B1063-509F-4619-9DCD-40BE680A2F07}" destId="{E57595F0-48AB-4B34-A030-F8223A7ECDEF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3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41486B2B-4356-4AE5-A6D4-E66013050394}" type="presOf" srcId="{E4C7AF03-E2BD-4E48-8DAB-C1261D3D7EA9}" destId="{03DB856F-DE91-4CA0-AD05-B356DE21BFDC}" srcOrd="0" destOrd="0" presId="urn:microsoft.com/office/officeart/2005/8/layout/list1"/>
    <dgm:cxn modelId="{5A07718B-1C42-40A7-B881-6D7AED2394C1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C842B49E-238B-4346-A9B1-C0A10C70D5DE}" type="presOf" srcId="{E4C7AF03-E2BD-4E48-8DAB-C1261D3D7EA9}" destId="{21D380AD-5D38-4835-9FB5-615E5454C686}" srcOrd="1" destOrd="0" presId="urn:microsoft.com/office/officeart/2005/8/layout/list1"/>
    <dgm:cxn modelId="{A10C7C50-B691-49C1-B381-83AB11846AC7}" type="presParOf" srcId="{C08F212E-D010-4B1B-884C-243E8BB88BD2}" destId="{A042C0D5-6636-40E8-83EA-703099528EDB}" srcOrd="0" destOrd="0" presId="urn:microsoft.com/office/officeart/2005/8/layout/list1"/>
    <dgm:cxn modelId="{78BD1270-27BA-4C41-AD33-67169E4B09DB}" type="presParOf" srcId="{A042C0D5-6636-40E8-83EA-703099528EDB}" destId="{03DB856F-DE91-4CA0-AD05-B356DE21BFDC}" srcOrd="0" destOrd="0" presId="urn:microsoft.com/office/officeart/2005/8/layout/list1"/>
    <dgm:cxn modelId="{6B44E70B-3BA5-404D-B20B-BDE5AADD05A3}" type="presParOf" srcId="{A042C0D5-6636-40E8-83EA-703099528EDB}" destId="{21D380AD-5D38-4835-9FB5-615E5454C686}" srcOrd="1" destOrd="0" presId="urn:microsoft.com/office/officeart/2005/8/layout/list1"/>
    <dgm:cxn modelId="{3BFBCB8C-841D-4FCC-A2BB-D7F22369AEAD}" type="presParOf" srcId="{C08F212E-D010-4B1B-884C-243E8BB88BD2}" destId="{E77B3B8A-36B6-4AF7-9D59-DF889FA8E07C}" srcOrd="1" destOrd="0" presId="urn:microsoft.com/office/officeart/2005/8/layout/list1"/>
    <dgm:cxn modelId="{9C34E5EB-BCC7-4FC6-B343-84704AA15297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4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7E34B92E-3754-4742-AD40-51B39F194F28}" type="presOf" srcId="{9AF403A6-2C5C-4F1B-B787-47496D3DBC71}" destId="{639FA514-32E4-4E31-8688-3C040A3F30E9}" srcOrd="0" destOrd="0" presId="urn:microsoft.com/office/officeart/2005/8/layout/chevronAccent+Icon"/>
    <dgm:cxn modelId="{D5C60947-82BF-4C7C-A17B-F54965E0E0C1}" type="presOf" srcId="{72D59079-C521-4525-81A4-701D931A8233}" destId="{9CE9EFE3-4E69-404A-8A99-59388A9E3922}" srcOrd="0" destOrd="0" presId="urn:microsoft.com/office/officeart/2005/8/layout/chevronAccent+Icon"/>
    <dgm:cxn modelId="{55B238A4-E1B6-4774-B9AA-7ABC142416CE}" type="presParOf" srcId="{639FA514-32E4-4E31-8688-3C040A3F30E9}" destId="{F100BA9B-D4E3-421F-B5D8-42E4C50A115C}" srcOrd="0" destOrd="0" presId="urn:microsoft.com/office/officeart/2005/8/layout/chevronAccent+Icon"/>
    <dgm:cxn modelId="{F91804CD-D4D0-4280-AE13-081B72266891}" type="presParOf" srcId="{F100BA9B-D4E3-421F-B5D8-42E4C50A115C}" destId="{51AD98A5-0898-43D1-8FB1-9AA58104A73C}" srcOrd="0" destOrd="0" presId="urn:microsoft.com/office/officeart/2005/8/layout/chevronAccent+Icon"/>
    <dgm:cxn modelId="{F9F829CE-7AA0-4E89-BFCE-0FF8245CAC1F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5.xml><?xml version="1.0" encoding="utf-8"?>
<dgm:dataModel xmlns:dgm="http://schemas.openxmlformats.org/drawingml/2006/diagram" xmlns:a="http://schemas.openxmlformats.org/drawingml/2006/main">
  <dgm:ptLst>
    <dgm:pt modelId="{47596786-D30C-44B1-A9C0-347CC8DE470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45521279-F18A-49A5-9DF6-484492AD8F7B}">
      <dgm:prSet/>
      <dgm:spPr/>
      <dgm:t>
        <a:bodyPr/>
        <a:lstStyle/>
        <a:p>
          <a:pPr algn="just" rtl="0"/>
          <a:r>
            <a:rPr lang="it-IT" dirty="0" smtClean="0"/>
            <a:t>La Commissione Europea ha indicato, nell’ambito della </a:t>
          </a:r>
          <a:r>
            <a:rPr lang="it-IT" b="1" dirty="0" smtClean="0"/>
            <a:t>Politica Marittima Integrata </a:t>
          </a:r>
          <a:r>
            <a:rPr lang="it-IT" dirty="0" smtClean="0"/>
            <a:t>inaugurata dal Libro Blu (COM2007(575)), la necessità (COM2009(544)) di un </a:t>
          </a:r>
          <a:r>
            <a:rPr lang="it-IT" b="1" dirty="0" smtClean="0"/>
            <a:t>sistema integrato di osservazione e previsione del mare </a:t>
          </a:r>
          <a:r>
            <a:rPr lang="it-IT" dirty="0" smtClean="0"/>
            <a:t>per utenti intermedi e finali che fornisca dati, prodotti e servizi per facilitare la gestione dell’ambiente costiero e marino, intervenire in presenza di rischi, implementare la sicurezza di zone sensibili, fornire visibilità sulla qualità dell’ambiente costiero e marino (EMODNET – Rete Europea per l’osservazione e la raccolta dati sull’ambiente marino). </a:t>
          </a:r>
          <a:endParaRPr lang="it-IT" dirty="0"/>
        </a:p>
      </dgm:t>
    </dgm:pt>
    <dgm:pt modelId="{92068C64-D581-4940-91D9-53308E19B172}" type="parTrans" cxnId="{C682CD5F-5944-4A89-9A35-EAD607F3FD38}">
      <dgm:prSet/>
      <dgm:spPr/>
      <dgm:t>
        <a:bodyPr/>
        <a:lstStyle/>
        <a:p>
          <a:endParaRPr lang="it-IT"/>
        </a:p>
      </dgm:t>
    </dgm:pt>
    <dgm:pt modelId="{B703E565-B269-4973-B162-4A4E252B43F5}" type="sibTrans" cxnId="{C682CD5F-5944-4A89-9A35-EAD607F3FD38}">
      <dgm:prSet/>
      <dgm:spPr/>
      <dgm:t>
        <a:bodyPr/>
        <a:lstStyle/>
        <a:p>
          <a:endParaRPr lang="it-IT"/>
        </a:p>
      </dgm:t>
    </dgm:pt>
    <dgm:pt modelId="{886154FE-6ECF-4986-90F3-F5CA5AA25DCB}" type="pres">
      <dgm:prSet presAssocID="{47596786-D30C-44B1-A9C0-347CC8DE470B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50491637-7FF8-4567-8107-AA2170073C5C}" type="pres">
      <dgm:prSet presAssocID="{45521279-F18A-49A5-9DF6-484492AD8F7B}" presName="thickLine" presStyleLbl="alignNode1" presStyleIdx="0" presStyleCnt="1"/>
      <dgm:spPr/>
    </dgm:pt>
    <dgm:pt modelId="{EFD2CDE6-5F84-4255-A474-E6164655CD65}" type="pres">
      <dgm:prSet presAssocID="{45521279-F18A-49A5-9DF6-484492AD8F7B}" presName="horz1" presStyleCnt="0"/>
      <dgm:spPr/>
    </dgm:pt>
    <dgm:pt modelId="{D1828EA1-7866-428C-8CB6-E5D6ACF1E678}" type="pres">
      <dgm:prSet presAssocID="{45521279-F18A-49A5-9DF6-484492AD8F7B}" presName="tx1" presStyleLbl="revTx" presStyleIdx="0" presStyleCnt="1"/>
      <dgm:spPr/>
      <dgm:t>
        <a:bodyPr/>
        <a:lstStyle/>
        <a:p>
          <a:endParaRPr lang="it-IT"/>
        </a:p>
      </dgm:t>
    </dgm:pt>
    <dgm:pt modelId="{C18DD205-6D27-4578-8D69-20153C5850EE}" type="pres">
      <dgm:prSet presAssocID="{45521279-F18A-49A5-9DF6-484492AD8F7B}" presName="vert1" presStyleCnt="0"/>
      <dgm:spPr/>
    </dgm:pt>
  </dgm:ptLst>
  <dgm:cxnLst>
    <dgm:cxn modelId="{EF02BAE7-A294-4286-88BE-F755D9763D0D}" type="presOf" srcId="{45521279-F18A-49A5-9DF6-484492AD8F7B}" destId="{D1828EA1-7866-428C-8CB6-E5D6ACF1E678}" srcOrd="0" destOrd="0" presId="urn:microsoft.com/office/officeart/2008/layout/LinedList"/>
    <dgm:cxn modelId="{C682CD5F-5944-4A89-9A35-EAD607F3FD38}" srcId="{47596786-D30C-44B1-A9C0-347CC8DE470B}" destId="{45521279-F18A-49A5-9DF6-484492AD8F7B}" srcOrd="0" destOrd="0" parTransId="{92068C64-D581-4940-91D9-53308E19B172}" sibTransId="{B703E565-B269-4973-B162-4A4E252B43F5}"/>
    <dgm:cxn modelId="{3D922120-B5A6-43E6-B5FE-4ED0CE04BBEE}" type="presOf" srcId="{47596786-D30C-44B1-A9C0-347CC8DE470B}" destId="{886154FE-6ECF-4986-90F3-F5CA5AA25DCB}" srcOrd="0" destOrd="0" presId="urn:microsoft.com/office/officeart/2008/layout/LinedList"/>
    <dgm:cxn modelId="{27138CAF-B49B-4E2A-9D1E-A3C88B3CC0E5}" type="presParOf" srcId="{886154FE-6ECF-4986-90F3-F5CA5AA25DCB}" destId="{50491637-7FF8-4567-8107-AA2170073C5C}" srcOrd="0" destOrd="0" presId="urn:microsoft.com/office/officeart/2008/layout/LinedList"/>
    <dgm:cxn modelId="{D37DB4D8-F5B6-4A90-86BB-61ACD90D7896}" type="presParOf" srcId="{886154FE-6ECF-4986-90F3-F5CA5AA25DCB}" destId="{EFD2CDE6-5F84-4255-A474-E6164655CD65}" srcOrd="1" destOrd="0" presId="urn:microsoft.com/office/officeart/2008/layout/LinedList"/>
    <dgm:cxn modelId="{48B521A8-09F9-4E68-875A-2C1F6BF0D718}" type="presParOf" srcId="{EFD2CDE6-5F84-4255-A474-E6164655CD65}" destId="{D1828EA1-7866-428C-8CB6-E5D6ACF1E678}" srcOrd="0" destOrd="0" presId="urn:microsoft.com/office/officeart/2008/layout/LinedList"/>
    <dgm:cxn modelId="{618F69FA-9A54-4166-8556-FD1480195184}" type="presParOf" srcId="{EFD2CDE6-5F84-4255-A474-E6164655CD65}" destId="{C18DD205-6D27-4578-8D69-20153C5850E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6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291F4351-320F-47CF-A2B9-4DFBBADE0B9C}" type="presOf" srcId="{E4C7AF03-E2BD-4E48-8DAB-C1261D3D7EA9}" destId="{21D380AD-5D38-4835-9FB5-615E5454C686}" srcOrd="1" destOrd="0" presId="urn:microsoft.com/office/officeart/2005/8/layout/list1"/>
    <dgm:cxn modelId="{8EF61C63-E0E7-4C1A-A893-4C815A48ADB9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98DF52BA-300F-4656-9401-76509EFACC34}" type="presOf" srcId="{E4C7AF03-E2BD-4E48-8DAB-C1261D3D7EA9}" destId="{03DB856F-DE91-4CA0-AD05-B356DE21BFDC}" srcOrd="0" destOrd="0" presId="urn:microsoft.com/office/officeart/2005/8/layout/list1"/>
    <dgm:cxn modelId="{73BC05EB-FEC7-4F27-AC32-CAF7CDEEABE4}" type="presParOf" srcId="{C08F212E-D010-4B1B-884C-243E8BB88BD2}" destId="{A042C0D5-6636-40E8-83EA-703099528EDB}" srcOrd="0" destOrd="0" presId="urn:microsoft.com/office/officeart/2005/8/layout/list1"/>
    <dgm:cxn modelId="{0273166B-65B4-414C-9A90-6986E1BCA656}" type="presParOf" srcId="{A042C0D5-6636-40E8-83EA-703099528EDB}" destId="{03DB856F-DE91-4CA0-AD05-B356DE21BFDC}" srcOrd="0" destOrd="0" presId="urn:microsoft.com/office/officeart/2005/8/layout/list1"/>
    <dgm:cxn modelId="{C3EB06EB-D343-42C3-ADD9-64744180A40D}" type="presParOf" srcId="{A042C0D5-6636-40E8-83EA-703099528EDB}" destId="{21D380AD-5D38-4835-9FB5-615E5454C686}" srcOrd="1" destOrd="0" presId="urn:microsoft.com/office/officeart/2005/8/layout/list1"/>
    <dgm:cxn modelId="{A055C286-C1FA-4F40-91C6-26F22CC3B014}" type="presParOf" srcId="{C08F212E-D010-4B1B-884C-243E8BB88BD2}" destId="{E77B3B8A-36B6-4AF7-9D59-DF889FA8E07C}" srcOrd="1" destOrd="0" presId="urn:microsoft.com/office/officeart/2005/8/layout/list1"/>
    <dgm:cxn modelId="{38261D4A-DF50-496F-B156-2887C9E9E45D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7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D4CF1CB6-CD0E-41A7-927B-ADE71D887026}" type="presOf" srcId="{72D59079-C521-4525-81A4-701D931A8233}" destId="{9CE9EFE3-4E69-404A-8A99-59388A9E3922}" srcOrd="0" destOrd="0" presId="urn:microsoft.com/office/officeart/2005/8/layout/chevronAccent+Icon"/>
    <dgm:cxn modelId="{CC62AC78-A327-43C6-8C43-8CECE630AF7C}" type="presOf" srcId="{9AF403A6-2C5C-4F1B-B787-47496D3DBC71}" destId="{639FA514-32E4-4E31-8688-3C040A3F30E9}" srcOrd="0" destOrd="0" presId="urn:microsoft.com/office/officeart/2005/8/layout/chevronAccent+Icon"/>
    <dgm:cxn modelId="{8E3C6F81-AB19-4C62-9666-374FF59298BE}" type="presParOf" srcId="{639FA514-32E4-4E31-8688-3C040A3F30E9}" destId="{F100BA9B-D4E3-421F-B5D8-42E4C50A115C}" srcOrd="0" destOrd="0" presId="urn:microsoft.com/office/officeart/2005/8/layout/chevronAccent+Icon"/>
    <dgm:cxn modelId="{E7660A84-F995-4F9D-B7DB-37409C33C8CD}" type="presParOf" srcId="{F100BA9B-D4E3-421F-B5D8-42E4C50A115C}" destId="{51AD98A5-0898-43D1-8FB1-9AA58104A73C}" srcOrd="0" destOrd="0" presId="urn:microsoft.com/office/officeart/2005/8/layout/chevronAccent+Icon"/>
    <dgm:cxn modelId="{2E705AB9-D5F6-475A-A8BB-95779E8662A0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68.xml><?xml version="1.0" encoding="utf-8"?>
<dgm:dataModel xmlns:dgm="http://schemas.openxmlformats.org/drawingml/2006/diagram" xmlns:a="http://schemas.openxmlformats.org/drawingml/2006/main">
  <dgm:ptLst>
    <dgm:pt modelId="{71F6F18F-9457-420F-AF6C-F248250BCD60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it-IT"/>
        </a:p>
      </dgm:t>
    </dgm:pt>
    <dgm:pt modelId="{CA12BA92-39B3-49AE-B65E-104CDDFF43AE}">
      <dgm:prSet/>
      <dgm:spPr/>
      <dgm:t>
        <a:bodyPr/>
        <a:lstStyle/>
        <a:p>
          <a:pPr algn="just" rtl="0"/>
          <a:r>
            <a:rPr lang="it-IT" dirty="0" smtClean="0"/>
            <a:t>Le indicazioni della Commissione Europea hanno poi trovato ulteriore conferma nella </a:t>
          </a:r>
          <a:r>
            <a:rPr lang="it-IT" b="1" dirty="0" smtClean="0"/>
            <a:t>Direttiva quadro sulla Strategia per l’Ambiente Marino </a:t>
          </a:r>
          <a:r>
            <a:rPr lang="it-IT" dirty="0" smtClean="0"/>
            <a:t>(2008/56/CE del 17.06.08), con la quale sono definite le </a:t>
          </a:r>
          <a:r>
            <a:rPr lang="it-IT" b="1" dirty="0" smtClean="0"/>
            <a:t>scadenze </a:t>
          </a:r>
          <a:r>
            <a:rPr lang="it-IT" dirty="0" smtClean="0"/>
            <a:t>in termini di azioni di monitoraggio </a:t>
          </a:r>
          <a:r>
            <a:rPr lang="it-IT" b="1" dirty="0" smtClean="0"/>
            <a:t>da ottemperare </a:t>
          </a:r>
          <a:r>
            <a:rPr lang="it-IT" dirty="0" smtClean="0"/>
            <a:t>da parte degli Stati Membri, per il conseguimento entro il 2020 di un buono stato ecologico a tutela delle risorse su cui poggiano le attività economiche e sociali correlate al mare. </a:t>
          </a:r>
          <a:endParaRPr lang="it-IT" dirty="0"/>
        </a:p>
      </dgm:t>
    </dgm:pt>
    <dgm:pt modelId="{00DE978C-9102-4E6D-B2CB-5FE12DA2F911}" type="parTrans" cxnId="{DAC7E399-9EE1-4092-B945-7008E2094879}">
      <dgm:prSet/>
      <dgm:spPr/>
      <dgm:t>
        <a:bodyPr/>
        <a:lstStyle/>
        <a:p>
          <a:endParaRPr lang="it-IT"/>
        </a:p>
      </dgm:t>
    </dgm:pt>
    <dgm:pt modelId="{DF21C9A4-74B0-4AD5-9A5B-5D45DA736FD9}" type="sibTrans" cxnId="{DAC7E399-9EE1-4092-B945-7008E2094879}">
      <dgm:prSet/>
      <dgm:spPr/>
      <dgm:t>
        <a:bodyPr/>
        <a:lstStyle/>
        <a:p>
          <a:endParaRPr lang="it-IT"/>
        </a:p>
      </dgm:t>
    </dgm:pt>
    <dgm:pt modelId="{E18369E7-07CB-46BA-B21A-34BD99CA8DD1}" type="pres">
      <dgm:prSet presAssocID="{71F6F18F-9457-420F-AF6C-F248250BCD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38196B3-124A-4962-8B07-3D313D8A98CC}" type="pres">
      <dgm:prSet presAssocID="{CA12BA92-39B3-49AE-B65E-104CDDFF43AE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DAC7E399-9EE1-4092-B945-7008E2094879}" srcId="{71F6F18F-9457-420F-AF6C-F248250BCD60}" destId="{CA12BA92-39B3-49AE-B65E-104CDDFF43AE}" srcOrd="0" destOrd="0" parTransId="{00DE978C-9102-4E6D-B2CB-5FE12DA2F911}" sibTransId="{DF21C9A4-74B0-4AD5-9A5B-5D45DA736FD9}"/>
    <dgm:cxn modelId="{1951CA73-C41D-4495-8025-088213828EEB}" type="presOf" srcId="{71F6F18F-9457-420F-AF6C-F248250BCD60}" destId="{E18369E7-07CB-46BA-B21A-34BD99CA8DD1}" srcOrd="0" destOrd="0" presId="urn:microsoft.com/office/officeart/2005/8/layout/vList2"/>
    <dgm:cxn modelId="{BD3590E9-99D1-414B-9D70-07AF2DB456EE}" type="presOf" srcId="{CA12BA92-39B3-49AE-B65E-104CDDFF43AE}" destId="{738196B3-124A-4962-8B07-3D313D8A98CC}" srcOrd="0" destOrd="0" presId="urn:microsoft.com/office/officeart/2005/8/layout/vList2"/>
    <dgm:cxn modelId="{8BD7C876-00FF-449A-B40D-0A18D6ADF58D}" type="presParOf" srcId="{E18369E7-07CB-46BA-B21A-34BD99CA8DD1}" destId="{738196B3-124A-4962-8B07-3D313D8A98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69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A7E5BE41-F45A-44C5-9757-AD975892B92F}" type="presOf" srcId="{E4C7AF03-E2BD-4E48-8DAB-C1261D3D7EA9}" destId="{03DB856F-DE91-4CA0-AD05-B356DE21BFDC}" srcOrd="0" destOrd="0" presId="urn:microsoft.com/office/officeart/2005/8/layout/list1"/>
    <dgm:cxn modelId="{BF153754-5725-4A40-BD3C-E044748802E1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55036118-6E04-4F43-A0D6-741A58429585}" type="presOf" srcId="{E4C7AF03-E2BD-4E48-8DAB-C1261D3D7EA9}" destId="{21D380AD-5D38-4835-9FB5-615E5454C686}" srcOrd="1" destOrd="0" presId="urn:microsoft.com/office/officeart/2005/8/layout/list1"/>
    <dgm:cxn modelId="{DFFD087C-EF12-4C12-8C80-E3D4FB87C35D}" type="presParOf" srcId="{C08F212E-D010-4B1B-884C-243E8BB88BD2}" destId="{A042C0D5-6636-40E8-83EA-703099528EDB}" srcOrd="0" destOrd="0" presId="urn:microsoft.com/office/officeart/2005/8/layout/list1"/>
    <dgm:cxn modelId="{4BFCB972-EA6E-418D-B2DD-D4B908BC880C}" type="presParOf" srcId="{A042C0D5-6636-40E8-83EA-703099528EDB}" destId="{03DB856F-DE91-4CA0-AD05-B356DE21BFDC}" srcOrd="0" destOrd="0" presId="urn:microsoft.com/office/officeart/2005/8/layout/list1"/>
    <dgm:cxn modelId="{3A578639-E08E-4FE1-A049-7CCCDD83F5BA}" type="presParOf" srcId="{A042C0D5-6636-40E8-83EA-703099528EDB}" destId="{21D380AD-5D38-4835-9FB5-615E5454C686}" srcOrd="1" destOrd="0" presId="urn:microsoft.com/office/officeart/2005/8/layout/list1"/>
    <dgm:cxn modelId="{FFAF7115-2ADB-4460-B959-BE83FF46ECDC}" type="presParOf" srcId="{C08F212E-D010-4B1B-884C-243E8BB88BD2}" destId="{E77B3B8A-36B6-4AF7-9D59-DF889FA8E07C}" srcOrd="1" destOrd="0" presId="urn:microsoft.com/office/officeart/2005/8/layout/list1"/>
    <dgm:cxn modelId="{93A21B81-26BB-4D59-B73F-3C1FC2389307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E3B8733-AE13-4A7B-A32B-B74DE4C528D7}" type="doc">
      <dgm:prSet loTypeId="urn:microsoft.com/office/officeart/2005/8/layout/vList5" loCatId="list" qsTypeId="urn:microsoft.com/office/officeart/2005/8/quickstyle/3d1" qsCatId="3D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F23A2E33-A7A9-4C0C-9E2D-FE9B09B27B0C}">
      <dgm:prSet phldrT="[Testo]" custT="1"/>
      <dgm:spPr/>
      <dgm:t>
        <a:bodyPr/>
        <a:lstStyle/>
        <a:p>
          <a:r>
            <a:rPr lang="it-IT" sz="2400" b="1" dirty="0" smtClean="0"/>
            <a:t>TAVOLI TEMATICI</a:t>
          </a:r>
          <a:endParaRPr lang="it-IT" sz="2400" b="1" dirty="0"/>
        </a:p>
      </dgm:t>
    </dgm:pt>
    <dgm:pt modelId="{4B3C5EFE-833D-4256-8D22-790DD4FEA846}" type="parTrans" cxnId="{AA13AB5C-83C5-45C1-864A-5D3145E95840}">
      <dgm:prSet/>
      <dgm:spPr/>
      <dgm:t>
        <a:bodyPr/>
        <a:lstStyle/>
        <a:p>
          <a:endParaRPr lang="it-IT" sz="2400"/>
        </a:p>
      </dgm:t>
    </dgm:pt>
    <dgm:pt modelId="{CE2E410B-761E-4681-BB83-5F0176147C43}" type="sibTrans" cxnId="{AA13AB5C-83C5-45C1-864A-5D3145E95840}">
      <dgm:prSet/>
      <dgm:spPr/>
      <dgm:t>
        <a:bodyPr/>
        <a:lstStyle/>
        <a:p>
          <a:endParaRPr lang="it-IT" sz="2400"/>
        </a:p>
      </dgm:t>
    </dgm:pt>
    <dgm:pt modelId="{67CAF0F0-11C7-41D4-B458-17DD1ACC65D7}" type="pres">
      <dgm:prSet presAssocID="{BE3B8733-AE13-4A7B-A32B-B74DE4C528D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1EF4C2B-0965-4D66-A48D-ECB7ACAE5C2D}" type="pres">
      <dgm:prSet presAssocID="{F23A2E33-A7A9-4C0C-9E2D-FE9B09B27B0C}" presName="linNode" presStyleCnt="0"/>
      <dgm:spPr/>
      <dgm:t>
        <a:bodyPr/>
        <a:lstStyle/>
        <a:p>
          <a:endParaRPr lang="it-IT"/>
        </a:p>
      </dgm:t>
    </dgm:pt>
    <dgm:pt modelId="{4B75031E-EAE2-44AE-A204-79AAE3CD8BF2}" type="pres">
      <dgm:prSet presAssocID="{F23A2E33-A7A9-4C0C-9E2D-FE9B09B27B0C}" presName="parentText" presStyleLbl="node1" presStyleIdx="0" presStyleCnt="1" custScaleX="277778" custLinFactNeighborX="136" custLinFactNeighborY="500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8EBD0AD-4307-4062-9FEA-9D670D414F9F}" type="presOf" srcId="{F23A2E33-A7A9-4C0C-9E2D-FE9B09B27B0C}" destId="{4B75031E-EAE2-44AE-A204-79AAE3CD8BF2}" srcOrd="0" destOrd="0" presId="urn:microsoft.com/office/officeart/2005/8/layout/vList5"/>
    <dgm:cxn modelId="{AA13AB5C-83C5-45C1-864A-5D3145E95840}" srcId="{BE3B8733-AE13-4A7B-A32B-B74DE4C528D7}" destId="{F23A2E33-A7A9-4C0C-9E2D-FE9B09B27B0C}" srcOrd="0" destOrd="0" parTransId="{4B3C5EFE-833D-4256-8D22-790DD4FEA846}" sibTransId="{CE2E410B-761E-4681-BB83-5F0176147C43}"/>
    <dgm:cxn modelId="{56E46870-6EEE-422A-B243-D72CCB8270FB}" type="presOf" srcId="{BE3B8733-AE13-4A7B-A32B-B74DE4C528D7}" destId="{67CAF0F0-11C7-41D4-B458-17DD1ACC65D7}" srcOrd="0" destOrd="0" presId="urn:microsoft.com/office/officeart/2005/8/layout/vList5"/>
    <dgm:cxn modelId="{20406A51-8F0A-4459-8634-36AAF9C9C250}" type="presParOf" srcId="{67CAF0F0-11C7-41D4-B458-17DD1ACC65D7}" destId="{91EF4C2B-0965-4D66-A48D-ECB7ACAE5C2D}" srcOrd="0" destOrd="0" presId="urn:microsoft.com/office/officeart/2005/8/layout/vList5"/>
    <dgm:cxn modelId="{AADCF71F-1080-477C-A3D5-ECD2BBAD591A}" type="presParOf" srcId="{91EF4C2B-0965-4D66-A48D-ECB7ACAE5C2D}" destId="{4B75031E-EAE2-44AE-A204-79AAE3CD8BF2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0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D7BE22EE-66BE-48FC-8B60-EB4D4DEC243A}" type="presOf" srcId="{9AF403A6-2C5C-4F1B-B787-47496D3DBC71}" destId="{639FA514-32E4-4E31-8688-3C040A3F30E9}" srcOrd="0" destOrd="0" presId="urn:microsoft.com/office/officeart/2005/8/layout/chevronAccent+Icon"/>
    <dgm:cxn modelId="{B58C72EC-8875-44F9-9CF2-98DED5101BD3}" type="presOf" srcId="{72D59079-C521-4525-81A4-701D931A8233}" destId="{9CE9EFE3-4E69-404A-8A99-59388A9E3922}" srcOrd="0" destOrd="0" presId="urn:microsoft.com/office/officeart/2005/8/layout/chevronAccent+Icon"/>
    <dgm:cxn modelId="{99AB3B80-4BE7-42EB-A774-90D0D5E103F0}" type="presParOf" srcId="{639FA514-32E4-4E31-8688-3C040A3F30E9}" destId="{F100BA9B-D4E3-421F-B5D8-42E4C50A115C}" srcOrd="0" destOrd="0" presId="urn:microsoft.com/office/officeart/2005/8/layout/chevronAccent+Icon"/>
    <dgm:cxn modelId="{FF58F043-68EC-4BD6-8E54-A7A1D8F202B7}" type="presParOf" srcId="{F100BA9B-D4E3-421F-B5D8-42E4C50A115C}" destId="{51AD98A5-0898-43D1-8FB1-9AA58104A73C}" srcOrd="0" destOrd="0" presId="urn:microsoft.com/office/officeart/2005/8/layout/chevronAccent+Icon"/>
    <dgm:cxn modelId="{BC73FA03-12E7-4E9D-9C0E-7407C29CDDC6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1.xml><?xml version="1.0" encoding="utf-8"?>
<dgm:dataModel xmlns:dgm="http://schemas.openxmlformats.org/drawingml/2006/diagram" xmlns:a="http://schemas.openxmlformats.org/drawingml/2006/main">
  <dgm:ptLst>
    <dgm:pt modelId="{71F6F18F-9457-420F-AF6C-F248250BCD60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it-IT"/>
        </a:p>
      </dgm:t>
    </dgm:pt>
    <dgm:pt modelId="{CA12BA92-39B3-49AE-B65E-104CDDFF43AE}">
      <dgm:prSet/>
      <dgm:spPr/>
      <dgm:t>
        <a:bodyPr/>
        <a:lstStyle/>
        <a:p>
          <a:pPr algn="just" rtl="0"/>
          <a:r>
            <a:rPr lang="it-IT" dirty="0" smtClean="0"/>
            <a:t>In ambito UNESCO-IOC (Joint WMO-IOC </a:t>
          </a:r>
          <a:r>
            <a:rPr lang="it-IT" dirty="0" err="1" smtClean="0"/>
            <a:t>Committee</a:t>
          </a:r>
          <a:r>
            <a:rPr lang="it-IT" dirty="0" smtClean="0"/>
            <a:t> in Marine </a:t>
          </a:r>
          <a:r>
            <a:rPr lang="it-IT" dirty="0" err="1" smtClean="0"/>
            <a:t>Meteorology</a:t>
          </a:r>
          <a:r>
            <a:rPr lang="it-IT" dirty="0" smtClean="0"/>
            <a:t>) e nel Group for Earth </a:t>
          </a:r>
          <a:r>
            <a:rPr lang="it-IT" dirty="0" err="1" smtClean="0"/>
            <a:t>Observation</a:t>
          </a:r>
          <a:r>
            <a:rPr lang="it-IT" dirty="0" smtClean="0"/>
            <a:t> (GEO - iniziativa del G8), come nell'agenda della Commissione Europea (Global </a:t>
          </a:r>
          <a:r>
            <a:rPr lang="it-IT" dirty="0" err="1" smtClean="0"/>
            <a:t>Monitoring</a:t>
          </a:r>
          <a:r>
            <a:rPr lang="it-IT" dirty="0" smtClean="0"/>
            <a:t> for Environment and Security), </a:t>
          </a:r>
          <a:r>
            <a:rPr lang="it-IT" b="1" dirty="0" smtClean="0"/>
            <a:t>l'Oceanografia Operativa </a:t>
          </a:r>
          <a:r>
            <a:rPr lang="it-IT" dirty="0" smtClean="0"/>
            <a:t>ha una notevole importanza, </a:t>
          </a:r>
          <a:r>
            <a:rPr lang="it-IT" b="1" dirty="0" smtClean="0"/>
            <a:t>equivalente </a:t>
          </a:r>
          <a:r>
            <a:rPr lang="it-IT" dirty="0" smtClean="0"/>
            <a:t>a quella dei </a:t>
          </a:r>
          <a:r>
            <a:rPr lang="it-IT" b="1" dirty="0" smtClean="0"/>
            <a:t>'Servizi Meteorologici</a:t>
          </a:r>
          <a:r>
            <a:rPr lang="it-IT" dirty="0" smtClean="0"/>
            <a:t>', con lo scopo di fornire prodotti e servizi legati ad osservazioni e previsioni dello stato futuro dell'ambiente marino; attività che necessita della più ampia collaborazione internazionale in termini di organizzazione di raccolta dati e di modellistica previsionale.</a:t>
          </a:r>
          <a:endParaRPr lang="it-IT" dirty="0"/>
        </a:p>
      </dgm:t>
    </dgm:pt>
    <dgm:pt modelId="{00DE978C-9102-4E6D-B2CB-5FE12DA2F911}" type="parTrans" cxnId="{DAC7E399-9EE1-4092-B945-7008E2094879}">
      <dgm:prSet/>
      <dgm:spPr/>
      <dgm:t>
        <a:bodyPr/>
        <a:lstStyle/>
        <a:p>
          <a:endParaRPr lang="it-IT"/>
        </a:p>
      </dgm:t>
    </dgm:pt>
    <dgm:pt modelId="{DF21C9A4-74B0-4AD5-9A5B-5D45DA736FD9}" type="sibTrans" cxnId="{DAC7E399-9EE1-4092-B945-7008E2094879}">
      <dgm:prSet/>
      <dgm:spPr/>
      <dgm:t>
        <a:bodyPr/>
        <a:lstStyle/>
        <a:p>
          <a:endParaRPr lang="it-IT"/>
        </a:p>
      </dgm:t>
    </dgm:pt>
    <dgm:pt modelId="{E18369E7-07CB-46BA-B21A-34BD99CA8DD1}" type="pres">
      <dgm:prSet presAssocID="{71F6F18F-9457-420F-AF6C-F248250BCD6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38196B3-124A-4962-8B07-3D313D8A98CC}" type="pres">
      <dgm:prSet presAssocID="{CA12BA92-39B3-49AE-B65E-104CDDFF43AE}" presName="parentText" presStyleLbl="node1" presStyleIdx="0" presStyleCnt="1" custScaleY="13441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683C8724-8592-4195-8C17-B4932F28B0F5}" type="presOf" srcId="{CA12BA92-39B3-49AE-B65E-104CDDFF43AE}" destId="{738196B3-124A-4962-8B07-3D313D8A98CC}" srcOrd="0" destOrd="0" presId="urn:microsoft.com/office/officeart/2005/8/layout/vList2"/>
    <dgm:cxn modelId="{DAC7E399-9EE1-4092-B945-7008E2094879}" srcId="{71F6F18F-9457-420F-AF6C-F248250BCD60}" destId="{CA12BA92-39B3-49AE-B65E-104CDDFF43AE}" srcOrd="0" destOrd="0" parTransId="{00DE978C-9102-4E6D-B2CB-5FE12DA2F911}" sibTransId="{DF21C9A4-74B0-4AD5-9A5B-5D45DA736FD9}"/>
    <dgm:cxn modelId="{4CD6DEF4-FE34-44B1-91B7-FECE0AB01E59}" type="presOf" srcId="{71F6F18F-9457-420F-AF6C-F248250BCD60}" destId="{E18369E7-07CB-46BA-B21A-34BD99CA8DD1}" srcOrd="0" destOrd="0" presId="urn:microsoft.com/office/officeart/2005/8/layout/vList2"/>
    <dgm:cxn modelId="{34E26E28-3B62-4D8D-9A7D-FD72AE353824}" type="presParOf" srcId="{E18369E7-07CB-46BA-B21A-34BD99CA8DD1}" destId="{738196B3-124A-4962-8B07-3D313D8A98CC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2.xml><?xml version="1.0" encoding="utf-8"?>
<dgm:dataModel xmlns:dgm="http://schemas.openxmlformats.org/drawingml/2006/diagram" xmlns:a="http://schemas.openxmlformats.org/drawingml/2006/main">
  <dgm:ptLst>
    <dgm:pt modelId="{3770DCD9-1A86-4907-A10B-EF35812A2891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/>
      <dgm:spPr/>
      <dgm:t>
        <a:bodyPr/>
        <a:lstStyle/>
        <a:p>
          <a:endParaRPr lang="it-IT"/>
        </a:p>
      </dgm:t>
    </dgm:pt>
    <dgm:pt modelId="{C6993925-9346-411C-9CEA-42FC25077120}">
      <dgm:prSet/>
      <dgm:spPr/>
      <dgm:t>
        <a:bodyPr/>
        <a:lstStyle/>
        <a:p>
          <a:pPr rtl="0"/>
          <a:r>
            <a:rPr lang="it-IT" smtClean="0"/>
            <a:t>•Contenimento dei costi di acquisizione e di gestione dei mezzi navali fino alla radiazione </a:t>
          </a:r>
          <a:endParaRPr lang="it-IT"/>
        </a:p>
      </dgm:t>
    </dgm:pt>
    <dgm:pt modelId="{4E477F46-ECD6-4902-8EDA-726758BCF070}" type="parTrans" cxnId="{04FE84A4-37B2-4C40-BCF2-F791908216A4}">
      <dgm:prSet/>
      <dgm:spPr/>
      <dgm:t>
        <a:bodyPr/>
        <a:lstStyle/>
        <a:p>
          <a:endParaRPr lang="it-IT"/>
        </a:p>
      </dgm:t>
    </dgm:pt>
    <dgm:pt modelId="{90AFD648-D5E5-4F31-855B-4FF054C698C4}" type="sibTrans" cxnId="{04FE84A4-37B2-4C40-BCF2-F791908216A4}">
      <dgm:prSet/>
      <dgm:spPr/>
      <dgm:t>
        <a:bodyPr/>
        <a:lstStyle/>
        <a:p>
          <a:endParaRPr lang="it-IT"/>
        </a:p>
      </dgm:t>
    </dgm:pt>
    <dgm:pt modelId="{FC10506A-1ED6-4BB8-9216-EB71B9F06C51}">
      <dgm:prSet/>
      <dgm:spPr/>
      <dgm:t>
        <a:bodyPr/>
        <a:lstStyle/>
        <a:p>
          <a:pPr rtl="0"/>
          <a:r>
            <a:rPr lang="it-IT" smtClean="0"/>
            <a:t>•Aumento efficienza energetica </a:t>
          </a:r>
          <a:endParaRPr lang="it-IT"/>
        </a:p>
      </dgm:t>
    </dgm:pt>
    <dgm:pt modelId="{4804FAAA-78D3-4B1E-BBB0-75ECDA92CD1E}" type="parTrans" cxnId="{3B7D96B6-68E0-4608-A186-B73A57297E1F}">
      <dgm:prSet/>
      <dgm:spPr/>
      <dgm:t>
        <a:bodyPr/>
        <a:lstStyle/>
        <a:p>
          <a:endParaRPr lang="it-IT"/>
        </a:p>
      </dgm:t>
    </dgm:pt>
    <dgm:pt modelId="{CDCE5212-7B71-4589-B34F-166B346AC967}" type="sibTrans" cxnId="{3B7D96B6-68E0-4608-A186-B73A57297E1F}">
      <dgm:prSet/>
      <dgm:spPr/>
      <dgm:t>
        <a:bodyPr/>
        <a:lstStyle/>
        <a:p>
          <a:endParaRPr lang="it-IT"/>
        </a:p>
      </dgm:t>
    </dgm:pt>
    <dgm:pt modelId="{81EA005A-6F68-4118-A282-F7EBEE998727}">
      <dgm:prSet/>
      <dgm:spPr/>
      <dgm:t>
        <a:bodyPr/>
        <a:lstStyle/>
        <a:p>
          <a:pPr rtl="0"/>
          <a:r>
            <a:rPr lang="it-IT" smtClean="0"/>
            <a:t>•Riconfigurabilità delle Unità Navali </a:t>
          </a:r>
          <a:endParaRPr lang="it-IT"/>
        </a:p>
      </dgm:t>
    </dgm:pt>
    <dgm:pt modelId="{08FC5CE2-21D1-46DE-B2BB-35948241B3E5}" type="parTrans" cxnId="{D9FFE847-ECD7-4961-B90A-4C5DFC63ABA1}">
      <dgm:prSet/>
      <dgm:spPr/>
      <dgm:t>
        <a:bodyPr/>
        <a:lstStyle/>
        <a:p>
          <a:endParaRPr lang="it-IT"/>
        </a:p>
      </dgm:t>
    </dgm:pt>
    <dgm:pt modelId="{6D5A35D3-30DF-465D-A615-CCB52C59E9ED}" type="sibTrans" cxnId="{D9FFE847-ECD7-4961-B90A-4C5DFC63ABA1}">
      <dgm:prSet/>
      <dgm:spPr/>
      <dgm:t>
        <a:bodyPr/>
        <a:lstStyle/>
        <a:p>
          <a:endParaRPr lang="it-IT"/>
        </a:p>
      </dgm:t>
    </dgm:pt>
    <dgm:pt modelId="{7938FDB4-D129-4750-9309-F753BB14E009}">
      <dgm:prSet/>
      <dgm:spPr/>
      <dgm:t>
        <a:bodyPr/>
        <a:lstStyle/>
        <a:p>
          <a:pPr rtl="0"/>
          <a:r>
            <a:rPr lang="it-IT" smtClean="0"/>
            <a:t>•Sicurezza aumentata: nell’esercizio, negli incidenti e negli abbordaggi/attentati </a:t>
          </a:r>
          <a:endParaRPr lang="it-IT"/>
        </a:p>
      </dgm:t>
    </dgm:pt>
    <dgm:pt modelId="{36CF3E9B-51C6-4594-B1C7-DD586C73541D}" type="parTrans" cxnId="{CADEEA78-6203-4DA1-A924-0E07DF899A15}">
      <dgm:prSet/>
      <dgm:spPr/>
      <dgm:t>
        <a:bodyPr/>
        <a:lstStyle/>
        <a:p>
          <a:endParaRPr lang="it-IT"/>
        </a:p>
      </dgm:t>
    </dgm:pt>
    <dgm:pt modelId="{8968BAF8-98AB-401B-A471-1B0D6232753D}" type="sibTrans" cxnId="{CADEEA78-6203-4DA1-A924-0E07DF899A15}">
      <dgm:prSet/>
      <dgm:spPr/>
      <dgm:t>
        <a:bodyPr/>
        <a:lstStyle/>
        <a:p>
          <a:endParaRPr lang="it-IT"/>
        </a:p>
      </dgm:t>
    </dgm:pt>
    <dgm:pt modelId="{CF4DF762-7DE6-4D00-9485-5CDA4078B049}" type="pres">
      <dgm:prSet presAssocID="{3770DCD9-1A86-4907-A10B-EF35812A289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051D5DB-8153-4187-845E-A036C6446B42}" type="pres">
      <dgm:prSet presAssocID="{C6993925-9346-411C-9CEA-42FC25077120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BF0B422-397E-46EE-9F59-1818D3020A93}" type="pres">
      <dgm:prSet presAssocID="{90AFD648-D5E5-4F31-855B-4FF054C698C4}" presName="spacer" presStyleCnt="0"/>
      <dgm:spPr/>
    </dgm:pt>
    <dgm:pt modelId="{625E8A7F-3F52-4E17-BB22-AB4A49D0B593}" type="pres">
      <dgm:prSet presAssocID="{FC10506A-1ED6-4BB8-9216-EB71B9F06C51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C636773-794D-40DF-8A6D-794C891DC52C}" type="pres">
      <dgm:prSet presAssocID="{CDCE5212-7B71-4589-B34F-166B346AC967}" presName="spacer" presStyleCnt="0"/>
      <dgm:spPr/>
    </dgm:pt>
    <dgm:pt modelId="{25040816-6AE0-4679-9259-54A0DC33AA8A}" type="pres">
      <dgm:prSet presAssocID="{81EA005A-6F68-4118-A282-F7EBEE998727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D935B14-F10E-472F-A0E9-220722F107D1}" type="pres">
      <dgm:prSet presAssocID="{6D5A35D3-30DF-465D-A615-CCB52C59E9ED}" presName="spacer" presStyleCnt="0"/>
      <dgm:spPr/>
    </dgm:pt>
    <dgm:pt modelId="{FD395977-E119-4333-B697-0F8BC8E95A28}" type="pres">
      <dgm:prSet presAssocID="{7938FDB4-D129-4750-9309-F753BB14E009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BFE59ABA-87A0-4F2C-B1E3-B64AF140545D}" type="presOf" srcId="{C6993925-9346-411C-9CEA-42FC25077120}" destId="{6051D5DB-8153-4187-845E-A036C6446B42}" srcOrd="0" destOrd="0" presId="urn:microsoft.com/office/officeart/2005/8/layout/vList2"/>
    <dgm:cxn modelId="{604BDBE7-E52D-48AC-8075-927586AD5B80}" type="presOf" srcId="{81EA005A-6F68-4118-A282-F7EBEE998727}" destId="{25040816-6AE0-4679-9259-54A0DC33AA8A}" srcOrd="0" destOrd="0" presId="urn:microsoft.com/office/officeart/2005/8/layout/vList2"/>
    <dgm:cxn modelId="{23A76484-1674-4D14-B0A4-1A839E792FB9}" type="presOf" srcId="{FC10506A-1ED6-4BB8-9216-EB71B9F06C51}" destId="{625E8A7F-3F52-4E17-BB22-AB4A49D0B593}" srcOrd="0" destOrd="0" presId="urn:microsoft.com/office/officeart/2005/8/layout/vList2"/>
    <dgm:cxn modelId="{CADEEA78-6203-4DA1-A924-0E07DF899A15}" srcId="{3770DCD9-1A86-4907-A10B-EF35812A2891}" destId="{7938FDB4-D129-4750-9309-F753BB14E009}" srcOrd="3" destOrd="0" parTransId="{36CF3E9B-51C6-4594-B1C7-DD586C73541D}" sibTransId="{8968BAF8-98AB-401B-A471-1B0D6232753D}"/>
    <dgm:cxn modelId="{04FE84A4-37B2-4C40-BCF2-F791908216A4}" srcId="{3770DCD9-1A86-4907-A10B-EF35812A2891}" destId="{C6993925-9346-411C-9CEA-42FC25077120}" srcOrd="0" destOrd="0" parTransId="{4E477F46-ECD6-4902-8EDA-726758BCF070}" sibTransId="{90AFD648-D5E5-4F31-855B-4FF054C698C4}"/>
    <dgm:cxn modelId="{36EA90F7-BAB8-4E60-94FF-F622CE985EED}" type="presOf" srcId="{7938FDB4-D129-4750-9309-F753BB14E009}" destId="{FD395977-E119-4333-B697-0F8BC8E95A28}" srcOrd="0" destOrd="0" presId="urn:microsoft.com/office/officeart/2005/8/layout/vList2"/>
    <dgm:cxn modelId="{3B7D96B6-68E0-4608-A186-B73A57297E1F}" srcId="{3770DCD9-1A86-4907-A10B-EF35812A2891}" destId="{FC10506A-1ED6-4BB8-9216-EB71B9F06C51}" srcOrd="1" destOrd="0" parTransId="{4804FAAA-78D3-4B1E-BBB0-75ECDA92CD1E}" sibTransId="{CDCE5212-7B71-4589-B34F-166B346AC967}"/>
    <dgm:cxn modelId="{94AD023B-10F0-4898-BC1F-5E07A708FEFF}" type="presOf" srcId="{3770DCD9-1A86-4907-A10B-EF35812A2891}" destId="{CF4DF762-7DE6-4D00-9485-5CDA4078B049}" srcOrd="0" destOrd="0" presId="urn:microsoft.com/office/officeart/2005/8/layout/vList2"/>
    <dgm:cxn modelId="{D9FFE847-ECD7-4961-B90A-4C5DFC63ABA1}" srcId="{3770DCD9-1A86-4907-A10B-EF35812A2891}" destId="{81EA005A-6F68-4118-A282-F7EBEE998727}" srcOrd="2" destOrd="0" parTransId="{08FC5CE2-21D1-46DE-B2BB-35948241B3E5}" sibTransId="{6D5A35D3-30DF-465D-A615-CCB52C59E9ED}"/>
    <dgm:cxn modelId="{BEE3E644-C965-4800-9523-8359A3BDA0F0}" type="presParOf" srcId="{CF4DF762-7DE6-4D00-9485-5CDA4078B049}" destId="{6051D5DB-8153-4187-845E-A036C6446B42}" srcOrd="0" destOrd="0" presId="urn:microsoft.com/office/officeart/2005/8/layout/vList2"/>
    <dgm:cxn modelId="{B3E54842-AEFF-47D1-8B36-464903E93831}" type="presParOf" srcId="{CF4DF762-7DE6-4D00-9485-5CDA4078B049}" destId="{BBF0B422-397E-46EE-9F59-1818D3020A93}" srcOrd="1" destOrd="0" presId="urn:microsoft.com/office/officeart/2005/8/layout/vList2"/>
    <dgm:cxn modelId="{BB04FD90-A879-404D-A072-218D28E6B4FE}" type="presParOf" srcId="{CF4DF762-7DE6-4D00-9485-5CDA4078B049}" destId="{625E8A7F-3F52-4E17-BB22-AB4A49D0B593}" srcOrd="2" destOrd="0" presId="urn:microsoft.com/office/officeart/2005/8/layout/vList2"/>
    <dgm:cxn modelId="{35731965-1576-4596-886B-BB8EAB1957B0}" type="presParOf" srcId="{CF4DF762-7DE6-4D00-9485-5CDA4078B049}" destId="{FC636773-794D-40DF-8A6D-794C891DC52C}" srcOrd="3" destOrd="0" presId="urn:microsoft.com/office/officeart/2005/8/layout/vList2"/>
    <dgm:cxn modelId="{3B007F67-EBA6-43C9-A62B-CB09EC01D060}" type="presParOf" srcId="{CF4DF762-7DE6-4D00-9485-5CDA4078B049}" destId="{25040816-6AE0-4679-9259-54A0DC33AA8A}" srcOrd="4" destOrd="0" presId="urn:microsoft.com/office/officeart/2005/8/layout/vList2"/>
    <dgm:cxn modelId="{3B861D9B-5A60-4CEF-8EAC-BE5335F89F37}" type="presParOf" srcId="{CF4DF762-7DE6-4D00-9485-5CDA4078B049}" destId="{2D935B14-F10E-472F-A0E9-220722F107D1}" srcOrd="5" destOrd="0" presId="urn:microsoft.com/office/officeart/2005/8/layout/vList2"/>
    <dgm:cxn modelId="{83AD658C-EDE4-4CD3-AFE2-97E363CEBC19}" type="presParOf" srcId="{CF4DF762-7DE6-4D00-9485-5CDA4078B049}" destId="{FD395977-E119-4333-B697-0F8BC8E95A28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3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DE2EBEEE-64E9-48CF-8851-BDB0C6CE2DD8}" type="presOf" srcId="{188FD03C-7D6A-4D29-8FCB-9C1383057E36}" destId="{C08F212E-D010-4B1B-884C-243E8BB88BD2}" srcOrd="0" destOrd="0" presId="urn:microsoft.com/office/officeart/2005/8/layout/list1"/>
    <dgm:cxn modelId="{A53E0B10-8A30-4EC1-9D74-CE44F86B2A94}" type="presOf" srcId="{E4C7AF03-E2BD-4E48-8DAB-C1261D3D7EA9}" destId="{21D380AD-5D38-4835-9FB5-615E5454C686}" srcOrd="1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A862EF6B-D114-4DD3-80A9-90B296874991}" type="presOf" srcId="{E4C7AF03-E2BD-4E48-8DAB-C1261D3D7EA9}" destId="{03DB856F-DE91-4CA0-AD05-B356DE21BFDC}" srcOrd="0" destOrd="0" presId="urn:microsoft.com/office/officeart/2005/8/layout/list1"/>
    <dgm:cxn modelId="{B12C1D35-2E38-4D04-AEC6-888D4787B44F}" type="presParOf" srcId="{C08F212E-D010-4B1B-884C-243E8BB88BD2}" destId="{A042C0D5-6636-40E8-83EA-703099528EDB}" srcOrd="0" destOrd="0" presId="urn:microsoft.com/office/officeart/2005/8/layout/list1"/>
    <dgm:cxn modelId="{1356033D-F028-4550-BCC5-55511141C112}" type="presParOf" srcId="{A042C0D5-6636-40E8-83EA-703099528EDB}" destId="{03DB856F-DE91-4CA0-AD05-B356DE21BFDC}" srcOrd="0" destOrd="0" presId="urn:microsoft.com/office/officeart/2005/8/layout/list1"/>
    <dgm:cxn modelId="{639A41EC-F7E9-41E5-9F2D-43726BBC65DB}" type="presParOf" srcId="{A042C0D5-6636-40E8-83EA-703099528EDB}" destId="{21D380AD-5D38-4835-9FB5-615E5454C686}" srcOrd="1" destOrd="0" presId="urn:microsoft.com/office/officeart/2005/8/layout/list1"/>
    <dgm:cxn modelId="{CB280B95-586F-467E-8FF4-FCB174F196EF}" type="presParOf" srcId="{C08F212E-D010-4B1B-884C-243E8BB88BD2}" destId="{E77B3B8A-36B6-4AF7-9D59-DF889FA8E07C}" srcOrd="1" destOrd="0" presId="urn:microsoft.com/office/officeart/2005/8/layout/list1"/>
    <dgm:cxn modelId="{A07CE19C-ACBD-423A-873B-A12C3DFEC1CD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4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04455E69-E847-47B5-8C08-7F1EBE90FCE7}" type="presOf" srcId="{72D59079-C521-4525-81A4-701D931A8233}" destId="{9CE9EFE3-4E69-404A-8A99-59388A9E3922}" srcOrd="0" destOrd="0" presId="urn:microsoft.com/office/officeart/2005/8/layout/chevronAccent+Icon"/>
    <dgm:cxn modelId="{EE8E9502-59B2-4F6E-80ED-70FDB7A7F524}" type="presOf" srcId="{9AF403A6-2C5C-4F1B-B787-47496D3DBC71}" destId="{639FA514-32E4-4E31-8688-3C040A3F30E9}" srcOrd="0" destOrd="0" presId="urn:microsoft.com/office/officeart/2005/8/layout/chevronAccent+Icon"/>
    <dgm:cxn modelId="{EC92DD4B-5379-415B-A313-61BCDB5BF779}" type="presParOf" srcId="{639FA514-32E4-4E31-8688-3C040A3F30E9}" destId="{F100BA9B-D4E3-421F-B5D8-42E4C50A115C}" srcOrd="0" destOrd="0" presId="urn:microsoft.com/office/officeart/2005/8/layout/chevronAccent+Icon"/>
    <dgm:cxn modelId="{AF0FEAC6-A1BF-40FA-9040-14B7BEF70796}" type="presParOf" srcId="{F100BA9B-D4E3-421F-B5D8-42E4C50A115C}" destId="{51AD98A5-0898-43D1-8FB1-9AA58104A73C}" srcOrd="0" destOrd="0" presId="urn:microsoft.com/office/officeart/2005/8/layout/chevronAccent+Icon"/>
    <dgm:cxn modelId="{4A8A160A-0D91-4650-BE9F-E1593DE86C2F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5.xml><?xml version="1.0" encoding="utf-8"?>
<dgm:dataModel xmlns:dgm="http://schemas.openxmlformats.org/drawingml/2006/diagram" xmlns:a="http://schemas.openxmlformats.org/drawingml/2006/main">
  <dgm:ptLst>
    <dgm:pt modelId="{3770DCD9-1A86-4907-A10B-EF35812A2891}" type="doc">
      <dgm:prSet loTypeId="urn:microsoft.com/office/officeart/2005/8/layout/vList2" loCatId="list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it-IT"/>
        </a:p>
      </dgm:t>
    </dgm:pt>
    <dgm:pt modelId="{C6993925-9346-411C-9CEA-42FC25077120}">
      <dgm:prSet/>
      <dgm:spPr/>
      <dgm:t>
        <a:bodyPr/>
        <a:lstStyle/>
        <a:p>
          <a:pPr rtl="0"/>
          <a:r>
            <a:rPr lang="it-IT" dirty="0" smtClean="0"/>
            <a:t>•Efficientamento di sistemi per risparmio energetico di bordo </a:t>
          </a:r>
          <a:endParaRPr lang="it-IT" dirty="0"/>
        </a:p>
      </dgm:t>
    </dgm:pt>
    <dgm:pt modelId="{4E477F46-ECD6-4902-8EDA-726758BCF070}" type="parTrans" cxnId="{04FE84A4-37B2-4C40-BCF2-F791908216A4}">
      <dgm:prSet/>
      <dgm:spPr/>
      <dgm:t>
        <a:bodyPr/>
        <a:lstStyle/>
        <a:p>
          <a:endParaRPr lang="it-IT"/>
        </a:p>
      </dgm:t>
    </dgm:pt>
    <dgm:pt modelId="{90AFD648-D5E5-4F31-855B-4FF054C698C4}" type="sibTrans" cxnId="{04FE84A4-37B2-4C40-BCF2-F791908216A4}">
      <dgm:prSet/>
      <dgm:spPr/>
      <dgm:t>
        <a:bodyPr/>
        <a:lstStyle/>
        <a:p>
          <a:endParaRPr lang="it-IT"/>
        </a:p>
      </dgm:t>
    </dgm:pt>
    <dgm:pt modelId="{4077FE0F-12EB-485F-BAEE-C1C40865B653}">
      <dgm:prSet/>
      <dgm:spPr/>
      <dgm:t>
        <a:bodyPr/>
        <a:lstStyle/>
        <a:p>
          <a:r>
            <a:rPr lang="it-IT" smtClean="0"/>
            <a:t>•Riduzione rumore e vibrazioni </a:t>
          </a:r>
          <a:endParaRPr lang="it-IT" dirty="0"/>
        </a:p>
      </dgm:t>
    </dgm:pt>
    <dgm:pt modelId="{74DDD349-0EED-4F48-B014-4A1FA62FCC19}" type="parTrans" cxnId="{09D0AF36-3E6F-4B12-B521-7A0893163BAB}">
      <dgm:prSet/>
      <dgm:spPr/>
      <dgm:t>
        <a:bodyPr/>
        <a:lstStyle/>
        <a:p>
          <a:endParaRPr lang="it-IT"/>
        </a:p>
      </dgm:t>
    </dgm:pt>
    <dgm:pt modelId="{0A5A2043-179B-4D78-833B-6ED15859D90C}" type="sibTrans" cxnId="{09D0AF36-3E6F-4B12-B521-7A0893163BAB}">
      <dgm:prSet/>
      <dgm:spPr/>
      <dgm:t>
        <a:bodyPr/>
        <a:lstStyle/>
        <a:p>
          <a:endParaRPr lang="it-IT"/>
        </a:p>
      </dgm:t>
    </dgm:pt>
    <dgm:pt modelId="{01F56C0B-B275-4BF8-878A-9D1C7E8C3A90}">
      <dgm:prSet/>
      <dgm:spPr/>
      <dgm:t>
        <a:bodyPr/>
        <a:lstStyle/>
        <a:p>
          <a:r>
            <a:rPr lang="it-IT" smtClean="0"/>
            <a:t>•Idrodinamica per propulsione navale </a:t>
          </a:r>
          <a:endParaRPr lang="it-IT" dirty="0"/>
        </a:p>
      </dgm:t>
    </dgm:pt>
    <dgm:pt modelId="{26AC240C-8651-4AAC-8044-C4618715376C}" type="parTrans" cxnId="{40BE13C2-B9CD-48C3-A944-294F48F0CBB9}">
      <dgm:prSet/>
      <dgm:spPr/>
      <dgm:t>
        <a:bodyPr/>
        <a:lstStyle/>
        <a:p>
          <a:endParaRPr lang="it-IT"/>
        </a:p>
      </dgm:t>
    </dgm:pt>
    <dgm:pt modelId="{6F85E2CC-988D-474C-AFDB-2BB9118B05BD}" type="sibTrans" cxnId="{40BE13C2-B9CD-48C3-A944-294F48F0CBB9}">
      <dgm:prSet/>
      <dgm:spPr/>
      <dgm:t>
        <a:bodyPr/>
        <a:lstStyle/>
        <a:p>
          <a:endParaRPr lang="it-IT"/>
        </a:p>
      </dgm:t>
    </dgm:pt>
    <dgm:pt modelId="{CBF13546-5B36-40A9-B32D-2A34A9238A69}">
      <dgm:prSet/>
      <dgm:spPr/>
      <dgm:t>
        <a:bodyPr/>
        <a:lstStyle/>
        <a:p>
          <a:r>
            <a:rPr lang="it-IT" smtClean="0"/>
            <a:t>•Soluzioni avanzate di tecniche di manutenzione per aumento MTBF </a:t>
          </a:r>
          <a:endParaRPr lang="it-IT" dirty="0"/>
        </a:p>
      </dgm:t>
    </dgm:pt>
    <dgm:pt modelId="{1D5C6DE6-0DC0-4E85-9CC8-689870165477}" type="parTrans" cxnId="{1476FC0D-D4C6-40E8-9E3F-59982AC7C13B}">
      <dgm:prSet/>
      <dgm:spPr/>
      <dgm:t>
        <a:bodyPr/>
        <a:lstStyle/>
        <a:p>
          <a:endParaRPr lang="it-IT"/>
        </a:p>
      </dgm:t>
    </dgm:pt>
    <dgm:pt modelId="{206D14C7-A696-4526-A60E-3FE550E10565}" type="sibTrans" cxnId="{1476FC0D-D4C6-40E8-9E3F-59982AC7C13B}">
      <dgm:prSet/>
      <dgm:spPr/>
      <dgm:t>
        <a:bodyPr/>
        <a:lstStyle/>
        <a:p>
          <a:endParaRPr lang="it-IT"/>
        </a:p>
      </dgm:t>
    </dgm:pt>
    <dgm:pt modelId="{A7A3C5F8-FDED-42AB-A8F6-BA0F55266073}">
      <dgm:prSet/>
      <dgm:spPr/>
      <dgm:t>
        <a:bodyPr/>
        <a:lstStyle/>
        <a:p>
          <a:r>
            <a:rPr lang="it-IT" smtClean="0"/>
            <a:t>•Tecnologie a supporto degli sviluppi di mezzi offshore </a:t>
          </a:r>
          <a:endParaRPr lang="it-IT" dirty="0"/>
        </a:p>
      </dgm:t>
    </dgm:pt>
    <dgm:pt modelId="{C1BC3195-C3BA-457A-BDE5-5FBE03BB9900}" type="parTrans" cxnId="{A393FBFE-5E82-4133-AF9E-B95089D8B4DC}">
      <dgm:prSet/>
      <dgm:spPr/>
      <dgm:t>
        <a:bodyPr/>
        <a:lstStyle/>
        <a:p>
          <a:endParaRPr lang="it-IT"/>
        </a:p>
      </dgm:t>
    </dgm:pt>
    <dgm:pt modelId="{6611A701-49BA-4BE2-B2A7-A1DCCAC5CC7A}" type="sibTrans" cxnId="{A393FBFE-5E82-4133-AF9E-B95089D8B4DC}">
      <dgm:prSet/>
      <dgm:spPr/>
      <dgm:t>
        <a:bodyPr/>
        <a:lstStyle/>
        <a:p>
          <a:endParaRPr lang="it-IT"/>
        </a:p>
      </dgm:t>
    </dgm:pt>
    <dgm:pt modelId="{8CDDFFA4-F572-4936-ABFD-B8CC6E815A19}">
      <dgm:prSet/>
      <dgm:spPr/>
      <dgm:t>
        <a:bodyPr/>
        <a:lstStyle/>
        <a:p>
          <a:r>
            <a:rPr lang="it-IT" smtClean="0"/>
            <a:t>•Tecnologie ed architetture per mezzi “Unmanned” per blue water </a:t>
          </a:r>
          <a:endParaRPr lang="it-IT" dirty="0"/>
        </a:p>
      </dgm:t>
    </dgm:pt>
    <dgm:pt modelId="{369223B7-B05F-46D7-9C4E-3E45924C7EED}" type="parTrans" cxnId="{829C0520-1AFF-4057-823D-4749648D5502}">
      <dgm:prSet/>
      <dgm:spPr/>
      <dgm:t>
        <a:bodyPr/>
        <a:lstStyle/>
        <a:p>
          <a:endParaRPr lang="it-IT"/>
        </a:p>
      </dgm:t>
    </dgm:pt>
    <dgm:pt modelId="{BE92A393-E6B4-43D8-A73E-1146BCE30577}" type="sibTrans" cxnId="{829C0520-1AFF-4057-823D-4749648D5502}">
      <dgm:prSet/>
      <dgm:spPr/>
      <dgm:t>
        <a:bodyPr/>
        <a:lstStyle/>
        <a:p>
          <a:endParaRPr lang="it-IT"/>
        </a:p>
      </dgm:t>
    </dgm:pt>
    <dgm:pt modelId="{0B280E9F-F396-47CE-853B-9A999A0A2AC8}">
      <dgm:prSet/>
      <dgm:spPr/>
      <dgm:t>
        <a:bodyPr/>
        <a:lstStyle/>
        <a:p>
          <a:r>
            <a:rPr lang="it-IT" smtClean="0"/>
            <a:t>•Materiali ecocompatibili sia nei processi di costruzione che di dismissione </a:t>
          </a:r>
          <a:endParaRPr lang="it-IT" dirty="0"/>
        </a:p>
      </dgm:t>
    </dgm:pt>
    <dgm:pt modelId="{D2D6765F-7B9E-4BFC-AE86-0AA8DB2C870B}" type="parTrans" cxnId="{B5887B0E-3A2E-4B6D-A8C2-A6E3D33D14BB}">
      <dgm:prSet/>
      <dgm:spPr/>
      <dgm:t>
        <a:bodyPr/>
        <a:lstStyle/>
        <a:p>
          <a:endParaRPr lang="it-IT"/>
        </a:p>
      </dgm:t>
    </dgm:pt>
    <dgm:pt modelId="{34BD4D90-CABA-4DE1-AD32-128075EBEA9E}" type="sibTrans" cxnId="{B5887B0E-3A2E-4B6D-A8C2-A6E3D33D14BB}">
      <dgm:prSet/>
      <dgm:spPr/>
      <dgm:t>
        <a:bodyPr/>
        <a:lstStyle/>
        <a:p>
          <a:endParaRPr lang="it-IT"/>
        </a:p>
      </dgm:t>
    </dgm:pt>
    <dgm:pt modelId="{9BBB7D14-7D50-4F13-AA3F-4ED1DDBCE384}">
      <dgm:prSet/>
      <dgm:spPr/>
      <dgm:t>
        <a:bodyPr/>
        <a:lstStyle/>
        <a:p>
          <a:r>
            <a:rPr lang="it-IT" smtClean="0"/>
            <a:t>•Monitoraggio ambientale </a:t>
          </a:r>
          <a:endParaRPr lang="it-IT" dirty="0"/>
        </a:p>
      </dgm:t>
    </dgm:pt>
    <dgm:pt modelId="{C7F4B6C1-28BE-4F6E-A3DE-809F32894062}" type="parTrans" cxnId="{13ED3EA7-A063-4137-BCA7-6246BE0C9A86}">
      <dgm:prSet/>
      <dgm:spPr/>
      <dgm:t>
        <a:bodyPr/>
        <a:lstStyle/>
        <a:p>
          <a:endParaRPr lang="it-IT"/>
        </a:p>
      </dgm:t>
    </dgm:pt>
    <dgm:pt modelId="{224A0C8A-9899-46B3-9E9F-8D1AD5177A74}" type="sibTrans" cxnId="{13ED3EA7-A063-4137-BCA7-6246BE0C9A86}">
      <dgm:prSet/>
      <dgm:spPr/>
      <dgm:t>
        <a:bodyPr/>
        <a:lstStyle/>
        <a:p>
          <a:endParaRPr lang="it-IT"/>
        </a:p>
      </dgm:t>
    </dgm:pt>
    <dgm:pt modelId="{35BEBD9C-26DD-4405-8AFB-BDF789A7C137}">
      <dgm:prSet/>
      <dgm:spPr/>
      <dgm:t>
        <a:bodyPr/>
        <a:lstStyle/>
        <a:p>
          <a:r>
            <a:rPr lang="it-IT" smtClean="0"/>
            <a:t>•Utilizzo combustibili zero emissioni (fuel cells) </a:t>
          </a:r>
          <a:endParaRPr lang="it-IT" dirty="0"/>
        </a:p>
      </dgm:t>
    </dgm:pt>
    <dgm:pt modelId="{525BDC8B-1E79-4CAC-81BA-E82CB21B6FB8}" type="parTrans" cxnId="{163909C7-8F19-4ECC-873C-625DE7224B89}">
      <dgm:prSet/>
      <dgm:spPr/>
      <dgm:t>
        <a:bodyPr/>
        <a:lstStyle/>
        <a:p>
          <a:endParaRPr lang="it-IT"/>
        </a:p>
      </dgm:t>
    </dgm:pt>
    <dgm:pt modelId="{95BE6E7B-217F-43E5-AF00-0B88B6704CFD}" type="sibTrans" cxnId="{163909C7-8F19-4ECC-873C-625DE7224B89}">
      <dgm:prSet/>
      <dgm:spPr/>
      <dgm:t>
        <a:bodyPr/>
        <a:lstStyle/>
        <a:p>
          <a:endParaRPr lang="it-IT"/>
        </a:p>
      </dgm:t>
    </dgm:pt>
    <dgm:pt modelId="{CF4DF762-7DE6-4D00-9485-5CDA4078B049}" type="pres">
      <dgm:prSet presAssocID="{3770DCD9-1A86-4907-A10B-EF35812A2891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051D5DB-8153-4187-845E-A036C6446B42}" type="pres">
      <dgm:prSet presAssocID="{C6993925-9346-411C-9CEA-42FC25077120}" presName="parentText" presStyleLbl="node1" presStyleIdx="0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BF0B422-397E-46EE-9F59-1818D3020A93}" type="pres">
      <dgm:prSet presAssocID="{90AFD648-D5E5-4F31-855B-4FF054C698C4}" presName="spacer" presStyleCnt="0"/>
      <dgm:spPr/>
    </dgm:pt>
    <dgm:pt modelId="{A9C08C92-DF53-4AD3-B8B9-4C925B815A1A}" type="pres">
      <dgm:prSet presAssocID="{4077FE0F-12EB-485F-BAEE-C1C40865B653}" presName="parentText" presStyleLbl="node1" presStyleIdx="1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6E092D2-FCBA-4EE9-8FFA-4A0CA7D5BE99}" type="pres">
      <dgm:prSet presAssocID="{0A5A2043-179B-4D78-833B-6ED15859D90C}" presName="spacer" presStyleCnt="0"/>
      <dgm:spPr/>
    </dgm:pt>
    <dgm:pt modelId="{DF19613E-63B5-4A3E-AED1-AB9DEC77B791}" type="pres">
      <dgm:prSet presAssocID="{01F56C0B-B275-4BF8-878A-9D1C7E8C3A90}" presName="parentText" presStyleLbl="node1" presStyleIdx="2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31C06EC-1BE6-4421-BC35-36C145A966C0}" type="pres">
      <dgm:prSet presAssocID="{6F85E2CC-988D-474C-AFDB-2BB9118B05BD}" presName="spacer" presStyleCnt="0"/>
      <dgm:spPr/>
    </dgm:pt>
    <dgm:pt modelId="{7C4D7C44-00A3-4EAA-A5D1-97497DAA9C42}" type="pres">
      <dgm:prSet presAssocID="{CBF13546-5B36-40A9-B32D-2A34A9238A69}" presName="parentText" presStyleLbl="node1" presStyleIdx="3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0187CFF-B749-4255-9849-ADF08AB5F541}" type="pres">
      <dgm:prSet presAssocID="{206D14C7-A696-4526-A60E-3FE550E10565}" presName="spacer" presStyleCnt="0"/>
      <dgm:spPr/>
    </dgm:pt>
    <dgm:pt modelId="{9C366311-DCE6-4D21-AA79-43371635BE28}" type="pres">
      <dgm:prSet presAssocID="{A7A3C5F8-FDED-42AB-A8F6-BA0F55266073}" presName="parentText" presStyleLbl="node1" presStyleIdx="4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CAACE96-E271-4BCD-9185-3602F22975B2}" type="pres">
      <dgm:prSet presAssocID="{6611A701-49BA-4BE2-B2A7-A1DCCAC5CC7A}" presName="spacer" presStyleCnt="0"/>
      <dgm:spPr/>
    </dgm:pt>
    <dgm:pt modelId="{77D368DB-C04D-4C16-9E12-E517B5F7EC0F}" type="pres">
      <dgm:prSet presAssocID="{8CDDFFA4-F572-4936-ABFD-B8CC6E815A19}" presName="parentText" presStyleLbl="node1" presStyleIdx="5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AB97D68-24A1-4F7C-9418-23A8F41AB78F}" type="pres">
      <dgm:prSet presAssocID="{BE92A393-E6B4-43D8-A73E-1146BCE30577}" presName="spacer" presStyleCnt="0"/>
      <dgm:spPr/>
    </dgm:pt>
    <dgm:pt modelId="{68A4BC4E-5D6A-42DF-A1D8-FDA8912A96AF}" type="pres">
      <dgm:prSet presAssocID="{0B280E9F-F396-47CE-853B-9A999A0A2AC8}" presName="parentText" presStyleLbl="node1" presStyleIdx="6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2D3D303-A3C1-42B0-BC70-1AAD627D15A3}" type="pres">
      <dgm:prSet presAssocID="{34BD4D90-CABA-4DE1-AD32-128075EBEA9E}" presName="spacer" presStyleCnt="0"/>
      <dgm:spPr/>
    </dgm:pt>
    <dgm:pt modelId="{3EDB84B8-5424-4A51-9295-5DD6C18FAE56}" type="pres">
      <dgm:prSet presAssocID="{9BBB7D14-7D50-4F13-AA3F-4ED1DDBCE384}" presName="parentText" presStyleLbl="node1" presStyleIdx="7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F5120D3-8F99-4555-8636-FB840E6A8105}" type="pres">
      <dgm:prSet presAssocID="{224A0C8A-9899-46B3-9E9F-8D1AD5177A74}" presName="spacer" presStyleCnt="0"/>
      <dgm:spPr/>
    </dgm:pt>
    <dgm:pt modelId="{D2880916-0DEF-422B-A9A4-E7D62C2DA3CF}" type="pres">
      <dgm:prSet presAssocID="{35BEBD9C-26DD-4405-8AFB-BDF789A7C137}" presName="parentText" presStyleLbl="node1" presStyleIdx="8" presStyleCnt="9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E0344EB-71B9-4817-96CF-F00F89483373}" type="presOf" srcId="{C6993925-9346-411C-9CEA-42FC25077120}" destId="{6051D5DB-8153-4187-845E-A036C6446B42}" srcOrd="0" destOrd="0" presId="urn:microsoft.com/office/officeart/2005/8/layout/vList2"/>
    <dgm:cxn modelId="{C3078A8C-8025-4F62-9B50-08929294FA9D}" type="presOf" srcId="{9BBB7D14-7D50-4F13-AA3F-4ED1DDBCE384}" destId="{3EDB84B8-5424-4A51-9295-5DD6C18FAE56}" srcOrd="0" destOrd="0" presId="urn:microsoft.com/office/officeart/2005/8/layout/vList2"/>
    <dgm:cxn modelId="{E2047033-F3F6-407C-BFD2-660A9C484762}" type="presOf" srcId="{35BEBD9C-26DD-4405-8AFB-BDF789A7C137}" destId="{D2880916-0DEF-422B-A9A4-E7D62C2DA3CF}" srcOrd="0" destOrd="0" presId="urn:microsoft.com/office/officeart/2005/8/layout/vList2"/>
    <dgm:cxn modelId="{40BE13C2-B9CD-48C3-A944-294F48F0CBB9}" srcId="{3770DCD9-1A86-4907-A10B-EF35812A2891}" destId="{01F56C0B-B275-4BF8-878A-9D1C7E8C3A90}" srcOrd="2" destOrd="0" parTransId="{26AC240C-8651-4AAC-8044-C4618715376C}" sibTransId="{6F85E2CC-988D-474C-AFDB-2BB9118B05BD}"/>
    <dgm:cxn modelId="{163909C7-8F19-4ECC-873C-625DE7224B89}" srcId="{3770DCD9-1A86-4907-A10B-EF35812A2891}" destId="{35BEBD9C-26DD-4405-8AFB-BDF789A7C137}" srcOrd="8" destOrd="0" parTransId="{525BDC8B-1E79-4CAC-81BA-E82CB21B6FB8}" sibTransId="{95BE6E7B-217F-43E5-AF00-0B88B6704CFD}"/>
    <dgm:cxn modelId="{8890D12F-AB68-458B-8C89-F61A9DD463F3}" type="presOf" srcId="{4077FE0F-12EB-485F-BAEE-C1C40865B653}" destId="{A9C08C92-DF53-4AD3-B8B9-4C925B815A1A}" srcOrd="0" destOrd="0" presId="urn:microsoft.com/office/officeart/2005/8/layout/vList2"/>
    <dgm:cxn modelId="{13ED3EA7-A063-4137-BCA7-6246BE0C9A86}" srcId="{3770DCD9-1A86-4907-A10B-EF35812A2891}" destId="{9BBB7D14-7D50-4F13-AA3F-4ED1DDBCE384}" srcOrd="7" destOrd="0" parTransId="{C7F4B6C1-28BE-4F6E-A3DE-809F32894062}" sibTransId="{224A0C8A-9899-46B3-9E9F-8D1AD5177A74}"/>
    <dgm:cxn modelId="{A54D0562-5EBC-4269-B458-C6C83CBDFA2B}" type="presOf" srcId="{3770DCD9-1A86-4907-A10B-EF35812A2891}" destId="{CF4DF762-7DE6-4D00-9485-5CDA4078B049}" srcOrd="0" destOrd="0" presId="urn:microsoft.com/office/officeart/2005/8/layout/vList2"/>
    <dgm:cxn modelId="{04FE84A4-37B2-4C40-BCF2-F791908216A4}" srcId="{3770DCD9-1A86-4907-A10B-EF35812A2891}" destId="{C6993925-9346-411C-9CEA-42FC25077120}" srcOrd="0" destOrd="0" parTransId="{4E477F46-ECD6-4902-8EDA-726758BCF070}" sibTransId="{90AFD648-D5E5-4F31-855B-4FF054C698C4}"/>
    <dgm:cxn modelId="{B5887B0E-3A2E-4B6D-A8C2-A6E3D33D14BB}" srcId="{3770DCD9-1A86-4907-A10B-EF35812A2891}" destId="{0B280E9F-F396-47CE-853B-9A999A0A2AC8}" srcOrd="6" destOrd="0" parTransId="{D2D6765F-7B9E-4BFC-AE86-0AA8DB2C870B}" sibTransId="{34BD4D90-CABA-4DE1-AD32-128075EBEA9E}"/>
    <dgm:cxn modelId="{A393FBFE-5E82-4133-AF9E-B95089D8B4DC}" srcId="{3770DCD9-1A86-4907-A10B-EF35812A2891}" destId="{A7A3C5F8-FDED-42AB-A8F6-BA0F55266073}" srcOrd="4" destOrd="0" parTransId="{C1BC3195-C3BA-457A-BDE5-5FBE03BB9900}" sibTransId="{6611A701-49BA-4BE2-B2A7-A1DCCAC5CC7A}"/>
    <dgm:cxn modelId="{D5634B6C-F3FC-49A5-BF4E-C9DB9448C1DC}" type="presOf" srcId="{A7A3C5F8-FDED-42AB-A8F6-BA0F55266073}" destId="{9C366311-DCE6-4D21-AA79-43371635BE28}" srcOrd="0" destOrd="0" presId="urn:microsoft.com/office/officeart/2005/8/layout/vList2"/>
    <dgm:cxn modelId="{53080ED5-C232-4DDB-BB51-6AEF61AF48FE}" type="presOf" srcId="{8CDDFFA4-F572-4936-ABFD-B8CC6E815A19}" destId="{77D368DB-C04D-4C16-9E12-E517B5F7EC0F}" srcOrd="0" destOrd="0" presId="urn:microsoft.com/office/officeart/2005/8/layout/vList2"/>
    <dgm:cxn modelId="{1EC90272-07F1-417C-AFD0-84C299F8DD1C}" type="presOf" srcId="{01F56C0B-B275-4BF8-878A-9D1C7E8C3A90}" destId="{DF19613E-63B5-4A3E-AED1-AB9DEC77B791}" srcOrd="0" destOrd="0" presId="urn:microsoft.com/office/officeart/2005/8/layout/vList2"/>
    <dgm:cxn modelId="{09D0AF36-3E6F-4B12-B521-7A0893163BAB}" srcId="{3770DCD9-1A86-4907-A10B-EF35812A2891}" destId="{4077FE0F-12EB-485F-BAEE-C1C40865B653}" srcOrd="1" destOrd="0" parTransId="{74DDD349-0EED-4F48-B014-4A1FA62FCC19}" sibTransId="{0A5A2043-179B-4D78-833B-6ED15859D90C}"/>
    <dgm:cxn modelId="{829C0520-1AFF-4057-823D-4749648D5502}" srcId="{3770DCD9-1A86-4907-A10B-EF35812A2891}" destId="{8CDDFFA4-F572-4936-ABFD-B8CC6E815A19}" srcOrd="5" destOrd="0" parTransId="{369223B7-B05F-46D7-9C4E-3E45924C7EED}" sibTransId="{BE92A393-E6B4-43D8-A73E-1146BCE30577}"/>
    <dgm:cxn modelId="{1476FC0D-D4C6-40E8-9E3F-59982AC7C13B}" srcId="{3770DCD9-1A86-4907-A10B-EF35812A2891}" destId="{CBF13546-5B36-40A9-B32D-2A34A9238A69}" srcOrd="3" destOrd="0" parTransId="{1D5C6DE6-0DC0-4E85-9CC8-689870165477}" sibTransId="{206D14C7-A696-4526-A60E-3FE550E10565}"/>
    <dgm:cxn modelId="{07BA9ADB-5ED3-437A-9D68-02779E3B640F}" type="presOf" srcId="{CBF13546-5B36-40A9-B32D-2A34A9238A69}" destId="{7C4D7C44-00A3-4EAA-A5D1-97497DAA9C42}" srcOrd="0" destOrd="0" presId="urn:microsoft.com/office/officeart/2005/8/layout/vList2"/>
    <dgm:cxn modelId="{F0E7A375-E449-490F-8F2A-092960AE3E33}" type="presOf" srcId="{0B280E9F-F396-47CE-853B-9A999A0A2AC8}" destId="{68A4BC4E-5D6A-42DF-A1D8-FDA8912A96AF}" srcOrd="0" destOrd="0" presId="urn:microsoft.com/office/officeart/2005/8/layout/vList2"/>
    <dgm:cxn modelId="{4665B6E0-6801-4811-A68F-D427780C2308}" type="presParOf" srcId="{CF4DF762-7DE6-4D00-9485-5CDA4078B049}" destId="{6051D5DB-8153-4187-845E-A036C6446B42}" srcOrd="0" destOrd="0" presId="urn:microsoft.com/office/officeart/2005/8/layout/vList2"/>
    <dgm:cxn modelId="{8DDB5ACE-1F88-4AE1-BB96-972044CEA109}" type="presParOf" srcId="{CF4DF762-7DE6-4D00-9485-5CDA4078B049}" destId="{BBF0B422-397E-46EE-9F59-1818D3020A93}" srcOrd="1" destOrd="0" presId="urn:microsoft.com/office/officeart/2005/8/layout/vList2"/>
    <dgm:cxn modelId="{DC7C6FCA-5F16-46CF-8D95-0B55B29B471A}" type="presParOf" srcId="{CF4DF762-7DE6-4D00-9485-5CDA4078B049}" destId="{A9C08C92-DF53-4AD3-B8B9-4C925B815A1A}" srcOrd="2" destOrd="0" presId="urn:microsoft.com/office/officeart/2005/8/layout/vList2"/>
    <dgm:cxn modelId="{B4EFA43B-95A2-4853-884F-849EE7C01578}" type="presParOf" srcId="{CF4DF762-7DE6-4D00-9485-5CDA4078B049}" destId="{D6E092D2-FCBA-4EE9-8FFA-4A0CA7D5BE99}" srcOrd="3" destOrd="0" presId="urn:microsoft.com/office/officeart/2005/8/layout/vList2"/>
    <dgm:cxn modelId="{6F2D7958-6DB2-4FA1-8CAA-F21563ED590B}" type="presParOf" srcId="{CF4DF762-7DE6-4D00-9485-5CDA4078B049}" destId="{DF19613E-63B5-4A3E-AED1-AB9DEC77B791}" srcOrd="4" destOrd="0" presId="urn:microsoft.com/office/officeart/2005/8/layout/vList2"/>
    <dgm:cxn modelId="{95FA3E53-DF9B-4BE8-8A4D-58A2B8CD7576}" type="presParOf" srcId="{CF4DF762-7DE6-4D00-9485-5CDA4078B049}" destId="{B31C06EC-1BE6-4421-BC35-36C145A966C0}" srcOrd="5" destOrd="0" presId="urn:microsoft.com/office/officeart/2005/8/layout/vList2"/>
    <dgm:cxn modelId="{F737A7F6-9914-4B59-B8E0-66A1BFC1C50E}" type="presParOf" srcId="{CF4DF762-7DE6-4D00-9485-5CDA4078B049}" destId="{7C4D7C44-00A3-4EAA-A5D1-97497DAA9C42}" srcOrd="6" destOrd="0" presId="urn:microsoft.com/office/officeart/2005/8/layout/vList2"/>
    <dgm:cxn modelId="{23A28A73-A4B7-4F16-8CFA-7CAD96D77A8D}" type="presParOf" srcId="{CF4DF762-7DE6-4D00-9485-5CDA4078B049}" destId="{00187CFF-B749-4255-9849-ADF08AB5F541}" srcOrd="7" destOrd="0" presId="urn:microsoft.com/office/officeart/2005/8/layout/vList2"/>
    <dgm:cxn modelId="{777B31AF-6693-4DAF-B335-0C5907A1981D}" type="presParOf" srcId="{CF4DF762-7DE6-4D00-9485-5CDA4078B049}" destId="{9C366311-DCE6-4D21-AA79-43371635BE28}" srcOrd="8" destOrd="0" presId="urn:microsoft.com/office/officeart/2005/8/layout/vList2"/>
    <dgm:cxn modelId="{369AC203-44CD-47F5-8826-43485964B8A3}" type="presParOf" srcId="{CF4DF762-7DE6-4D00-9485-5CDA4078B049}" destId="{3CAACE96-E271-4BCD-9185-3602F22975B2}" srcOrd="9" destOrd="0" presId="urn:microsoft.com/office/officeart/2005/8/layout/vList2"/>
    <dgm:cxn modelId="{F2A15643-41DA-4DF8-8B7E-AAACA1332CD3}" type="presParOf" srcId="{CF4DF762-7DE6-4D00-9485-5CDA4078B049}" destId="{77D368DB-C04D-4C16-9E12-E517B5F7EC0F}" srcOrd="10" destOrd="0" presId="urn:microsoft.com/office/officeart/2005/8/layout/vList2"/>
    <dgm:cxn modelId="{64DC1CE3-B50A-4736-B03F-C2F3FB8014D0}" type="presParOf" srcId="{CF4DF762-7DE6-4D00-9485-5CDA4078B049}" destId="{3AB97D68-24A1-4F7C-9418-23A8F41AB78F}" srcOrd="11" destOrd="0" presId="urn:microsoft.com/office/officeart/2005/8/layout/vList2"/>
    <dgm:cxn modelId="{E3DE2071-286B-4D54-94F2-DC56D90F5D11}" type="presParOf" srcId="{CF4DF762-7DE6-4D00-9485-5CDA4078B049}" destId="{68A4BC4E-5D6A-42DF-A1D8-FDA8912A96AF}" srcOrd="12" destOrd="0" presId="urn:microsoft.com/office/officeart/2005/8/layout/vList2"/>
    <dgm:cxn modelId="{7B2B4AC1-45DD-4999-A186-D26F7D776EEE}" type="presParOf" srcId="{CF4DF762-7DE6-4D00-9485-5CDA4078B049}" destId="{72D3D303-A3C1-42B0-BC70-1AAD627D15A3}" srcOrd="13" destOrd="0" presId="urn:microsoft.com/office/officeart/2005/8/layout/vList2"/>
    <dgm:cxn modelId="{3003AB53-BC8C-4FEE-8B59-1251C7A75817}" type="presParOf" srcId="{CF4DF762-7DE6-4D00-9485-5CDA4078B049}" destId="{3EDB84B8-5424-4A51-9295-5DD6C18FAE56}" srcOrd="14" destOrd="0" presId="urn:microsoft.com/office/officeart/2005/8/layout/vList2"/>
    <dgm:cxn modelId="{9D324DCD-AEA7-48E3-BECE-119B2B9F795F}" type="presParOf" srcId="{CF4DF762-7DE6-4D00-9485-5CDA4078B049}" destId="{3F5120D3-8F99-4555-8636-FB840E6A8105}" srcOrd="15" destOrd="0" presId="urn:microsoft.com/office/officeart/2005/8/layout/vList2"/>
    <dgm:cxn modelId="{94F92045-BDA3-42E3-85BB-DB0DDD260C7B}" type="presParOf" srcId="{CF4DF762-7DE6-4D00-9485-5CDA4078B049}" destId="{D2880916-0DEF-422B-A9A4-E7D62C2DA3CF}" srcOrd="1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6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6123B0AD-2215-4AF3-B0D9-5C76ED88134D}" type="presOf" srcId="{188FD03C-7D6A-4D29-8FCB-9C1383057E36}" destId="{C08F212E-D010-4B1B-884C-243E8BB88BD2}" srcOrd="0" destOrd="0" presId="urn:microsoft.com/office/officeart/2005/8/layout/list1"/>
    <dgm:cxn modelId="{31F1F694-E001-4B7E-A7B1-86A9D7FBEF7D}" type="presOf" srcId="{E4C7AF03-E2BD-4E48-8DAB-C1261D3D7EA9}" destId="{21D380AD-5D38-4835-9FB5-615E5454C686}" srcOrd="1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C4D37F5B-E771-41AF-85D4-F37FAC717582}" type="presOf" srcId="{E4C7AF03-E2BD-4E48-8DAB-C1261D3D7EA9}" destId="{03DB856F-DE91-4CA0-AD05-B356DE21BFDC}" srcOrd="0" destOrd="0" presId="urn:microsoft.com/office/officeart/2005/8/layout/list1"/>
    <dgm:cxn modelId="{499945A4-FE52-48E2-99D0-7A6FC94CA999}" type="presParOf" srcId="{C08F212E-D010-4B1B-884C-243E8BB88BD2}" destId="{A042C0D5-6636-40E8-83EA-703099528EDB}" srcOrd="0" destOrd="0" presId="urn:microsoft.com/office/officeart/2005/8/layout/list1"/>
    <dgm:cxn modelId="{DB7E7976-69EE-497B-95EA-69B90B13C73F}" type="presParOf" srcId="{A042C0D5-6636-40E8-83EA-703099528EDB}" destId="{03DB856F-DE91-4CA0-AD05-B356DE21BFDC}" srcOrd="0" destOrd="0" presId="urn:microsoft.com/office/officeart/2005/8/layout/list1"/>
    <dgm:cxn modelId="{800FE812-8503-43D3-A346-699B5DD93BB8}" type="presParOf" srcId="{A042C0D5-6636-40E8-83EA-703099528EDB}" destId="{21D380AD-5D38-4835-9FB5-615E5454C686}" srcOrd="1" destOrd="0" presId="urn:microsoft.com/office/officeart/2005/8/layout/list1"/>
    <dgm:cxn modelId="{2C38CF1B-A24E-4AD4-984E-3091D6F34F02}" type="presParOf" srcId="{C08F212E-D010-4B1B-884C-243E8BB88BD2}" destId="{E77B3B8A-36B6-4AF7-9D59-DF889FA8E07C}" srcOrd="1" destOrd="0" presId="urn:microsoft.com/office/officeart/2005/8/layout/list1"/>
    <dgm:cxn modelId="{23673941-A3AC-4166-9A8B-642B19B67FF2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7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E677E40E-D842-4B62-BC39-B01233BCAFA0}" type="presOf" srcId="{9AF403A6-2C5C-4F1B-B787-47496D3DBC71}" destId="{639FA514-32E4-4E31-8688-3C040A3F30E9}" srcOrd="0" destOrd="0" presId="urn:microsoft.com/office/officeart/2005/8/layout/chevronAccent+Icon"/>
    <dgm:cxn modelId="{A45FFF74-310A-42E7-8185-3729099E2A58}" type="presOf" srcId="{72D59079-C521-4525-81A4-701D931A8233}" destId="{9CE9EFE3-4E69-404A-8A99-59388A9E3922}" srcOrd="0" destOrd="0" presId="urn:microsoft.com/office/officeart/2005/8/layout/chevronAccent+Icon"/>
    <dgm:cxn modelId="{FBA9302C-03EE-4AC5-9508-61E4CE0F2315}" type="presParOf" srcId="{639FA514-32E4-4E31-8688-3C040A3F30E9}" destId="{F100BA9B-D4E3-421F-B5D8-42E4C50A115C}" srcOrd="0" destOrd="0" presId="urn:microsoft.com/office/officeart/2005/8/layout/chevronAccent+Icon"/>
    <dgm:cxn modelId="{71DBB71D-B4B7-4B1B-8B93-09B16DD1FC85}" type="presParOf" srcId="{F100BA9B-D4E3-421F-B5D8-42E4C50A115C}" destId="{51AD98A5-0898-43D1-8FB1-9AA58104A73C}" srcOrd="0" destOrd="0" presId="urn:microsoft.com/office/officeart/2005/8/layout/chevronAccent+Icon"/>
    <dgm:cxn modelId="{9A06F418-3334-4969-91CD-3F55089D5C22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78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89B3104F-548F-40E8-9181-8018E25952C1}" type="presOf" srcId="{E4C7AF03-E2BD-4E48-8DAB-C1261D3D7EA9}" destId="{03DB856F-DE91-4CA0-AD05-B356DE21BFDC}" srcOrd="0" destOrd="0" presId="urn:microsoft.com/office/officeart/2005/8/layout/list1"/>
    <dgm:cxn modelId="{F07CE769-7522-4A38-AD7A-6F1D2802F400}" type="presOf" srcId="{E4C7AF03-E2BD-4E48-8DAB-C1261D3D7EA9}" destId="{21D380AD-5D38-4835-9FB5-615E5454C686}" srcOrd="1" destOrd="0" presId="urn:microsoft.com/office/officeart/2005/8/layout/list1"/>
    <dgm:cxn modelId="{A8B53982-1DE4-467D-903F-D9AED4DFEC05}" type="presOf" srcId="{188FD03C-7D6A-4D29-8FCB-9C1383057E36}" destId="{C08F212E-D010-4B1B-884C-243E8BB88BD2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AEA789AE-7144-4DE2-B4CE-00FC439305E3}" type="presParOf" srcId="{C08F212E-D010-4B1B-884C-243E8BB88BD2}" destId="{A042C0D5-6636-40E8-83EA-703099528EDB}" srcOrd="0" destOrd="0" presId="urn:microsoft.com/office/officeart/2005/8/layout/list1"/>
    <dgm:cxn modelId="{38A583B4-956A-4D5F-B040-3ADE816B277D}" type="presParOf" srcId="{A042C0D5-6636-40E8-83EA-703099528EDB}" destId="{03DB856F-DE91-4CA0-AD05-B356DE21BFDC}" srcOrd="0" destOrd="0" presId="urn:microsoft.com/office/officeart/2005/8/layout/list1"/>
    <dgm:cxn modelId="{2E637EF7-CBEA-4AD5-B114-1EFD157C2E54}" type="presParOf" srcId="{A042C0D5-6636-40E8-83EA-703099528EDB}" destId="{21D380AD-5D38-4835-9FB5-615E5454C686}" srcOrd="1" destOrd="0" presId="urn:microsoft.com/office/officeart/2005/8/layout/list1"/>
    <dgm:cxn modelId="{CAAC4968-821E-4EBD-A09B-1BC9647E48FC}" type="presParOf" srcId="{C08F212E-D010-4B1B-884C-243E8BB88BD2}" destId="{E77B3B8A-36B6-4AF7-9D59-DF889FA8E07C}" srcOrd="1" destOrd="0" presId="urn:microsoft.com/office/officeart/2005/8/layout/list1"/>
    <dgm:cxn modelId="{74FDFDE9-A022-4C38-AB0E-7CB0340B943E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9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e tendenze internazionali e nazionali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E07784A6-CA22-4795-B192-ACA1058E4932}" type="presOf" srcId="{72D59079-C521-4525-81A4-701D931A8233}" destId="{9CE9EFE3-4E69-404A-8A99-59388A9E3922}" srcOrd="0" destOrd="0" presId="urn:microsoft.com/office/officeart/2005/8/layout/chevronAccent+Icon"/>
    <dgm:cxn modelId="{783CF05D-0A82-4893-88BF-D9A8DC1DE04D}" type="presOf" srcId="{9AF403A6-2C5C-4F1B-B787-47496D3DBC71}" destId="{639FA514-32E4-4E31-8688-3C040A3F30E9}" srcOrd="0" destOrd="0" presId="urn:microsoft.com/office/officeart/2005/8/layout/chevronAccent+Icon"/>
    <dgm:cxn modelId="{9836A5AC-15D9-40EF-9384-72D93EFEE2D5}" type="presParOf" srcId="{639FA514-32E4-4E31-8688-3C040A3F30E9}" destId="{F100BA9B-D4E3-421F-B5D8-42E4C50A115C}" srcOrd="0" destOrd="0" presId="urn:microsoft.com/office/officeart/2005/8/layout/chevronAccent+Icon"/>
    <dgm:cxn modelId="{AD4CEF52-E87B-41FA-883C-F744C7AD9FAD}" type="presParOf" srcId="{F100BA9B-D4E3-421F-B5D8-42E4C50A115C}" destId="{51AD98A5-0898-43D1-8FB1-9AA58104A73C}" srcOrd="0" destOrd="0" presId="urn:microsoft.com/office/officeart/2005/8/layout/chevronAccent+Icon"/>
    <dgm:cxn modelId="{4139743C-F038-4A36-968D-E0905D528EE4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43075584-0A09-4F92-A3EE-4594CC46FEDC}" type="doc">
      <dgm:prSet loTypeId="urn:microsoft.com/office/officeart/2008/layout/LinedList" loCatId="list" qsTypeId="urn:microsoft.com/office/officeart/2005/8/quickstyle/simple1#6" qsCatId="simple" csTypeId="urn:microsoft.com/office/officeart/2005/8/colors/accent2_5" csCatId="accent2" phldr="1"/>
      <dgm:spPr/>
      <dgm:t>
        <a:bodyPr/>
        <a:lstStyle/>
        <a:p>
          <a:endParaRPr lang="it-IT"/>
        </a:p>
      </dgm:t>
    </dgm:pt>
    <dgm:pt modelId="{4DBD1FB0-9DEC-4BF1-BDFE-C56F2660AE47}">
      <dgm:prSet custT="1"/>
      <dgm:spPr/>
      <dgm:t>
        <a:bodyPr/>
        <a:lstStyle/>
        <a:p>
          <a:pPr algn="just" rtl="0"/>
          <a:endParaRPr lang="it-IT" sz="1800" b="1" i="0" dirty="0">
            <a:solidFill>
              <a:srgbClr val="C00000"/>
            </a:solidFill>
          </a:endParaRPr>
        </a:p>
      </dgm:t>
    </dgm:pt>
    <dgm:pt modelId="{977500EF-1C8F-4ABA-A49C-70BA86BBB338}" type="par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95AA54F3-60A7-4C69-9BA0-A132406858AF}" type="sibTrans" cxnId="{96C8A48C-C5AF-46B5-9B5D-144C81DD0D8F}">
      <dgm:prSet/>
      <dgm:spPr/>
      <dgm:t>
        <a:bodyPr/>
        <a:lstStyle/>
        <a:p>
          <a:pPr algn="l"/>
          <a:endParaRPr lang="it-IT"/>
        </a:p>
      </dgm:t>
    </dgm:pt>
    <dgm:pt modelId="{D7EA6325-6413-4438-83E4-6701E2C57717}" type="pres">
      <dgm:prSet presAssocID="{43075584-0A09-4F92-A3EE-4594CC46FED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C53CC59A-ED65-4B0D-9470-3F18E593A142}" type="pres">
      <dgm:prSet presAssocID="{4DBD1FB0-9DEC-4BF1-BDFE-C56F2660AE47}" presName="thickLine" presStyleLbl="alignNode1" presStyleIdx="0" presStyleCnt="1"/>
      <dgm:spPr/>
    </dgm:pt>
    <dgm:pt modelId="{CCBE2F35-B449-4304-A4B7-EB4A0CE90FAA}" type="pres">
      <dgm:prSet presAssocID="{4DBD1FB0-9DEC-4BF1-BDFE-C56F2660AE47}" presName="horz1" presStyleCnt="0"/>
      <dgm:spPr/>
    </dgm:pt>
    <dgm:pt modelId="{2E4F97BB-80AE-4B89-8B32-FB05A53BD028}" type="pres">
      <dgm:prSet presAssocID="{4DBD1FB0-9DEC-4BF1-BDFE-C56F2660AE47}" presName="tx1" presStyleLbl="revTx" presStyleIdx="0" presStyleCnt="1" custLinFactNeighborY="-36433"/>
      <dgm:spPr/>
      <dgm:t>
        <a:bodyPr/>
        <a:lstStyle/>
        <a:p>
          <a:endParaRPr lang="it-IT"/>
        </a:p>
      </dgm:t>
    </dgm:pt>
    <dgm:pt modelId="{D1497074-FD56-4A1D-B803-63AFF8396209}" type="pres">
      <dgm:prSet presAssocID="{4DBD1FB0-9DEC-4BF1-BDFE-C56F2660AE47}" presName="vert1" presStyleCnt="0"/>
      <dgm:spPr/>
    </dgm:pt>
  </dgm:ptLst>
  <dgm:cxnLst>
    <dgm:cxn modelId="{96C8A48C-C5AF-46B5-9B5D-144C81DD0D8F}" srcId="{43075584-0A09-4F92-A3EE-4594CC46FEDC}" destId="{4DBD1FB0-9DEC-4BF1-BDFE-C56F2660AE47}" srcOrd="0" destOrd="0" parTransId="{977500EF-1C8F-4ABA-A49C-70BA86BBB338}" sibTransId="{95AA54F3-60A7-4C69-9BA0-A132406858AF}"/>
    <dgm:cxn modelId="{0561D62F-A858-4A19-85D7-F90869AD2BF0}" type="presOf" srcId="{4DBD1FB0-9DEC-4BF1-BDFE-C56F2660AE47}" destId="{2E4F97BB-80AE-4B89-8B32-FB05A53BD028}" srcOrd="0" destOrd="0" presId="urn:microsoft.com/office/officeart/2008/layout/LinedList"/>
    <dgm:cxn modelId="{3EA72CA2-1063-4063-B9E6-9FEB387FD23A}" type="presOf" srcId="{43075584-0A09-4F92-A3EE-4594CC46FEDC}" destId="{D7EA6325-6413-4438-83E4-6701E2C57717}" srcOrd="0" destOrd="0" presId="urn:microsoft.com/office/officeart/2008/layout/LinedList"/>
    <dgm:cxn modelId="{C8411F6D-EC5D-41E9-A811-E5EB2E7924AE}" type="presParOf" srcId="{D7EA6325-6413-4438-83E4-6701E2C57717}" destId="{C53CC59A-ED65-4B0D-9470-3F18E593A142}" srcOrd="0" destOrd="0" presId="urn:microsoft.com/office/officeart/2008/layout/LinedList"/>
    <dgm:cxn modelId="{CDD9CB8E-CD80-41F5-BA0D-B5CE26EE4AFD}" type="presParOf" srcId="{D7EA6325-6413-4438-83E4-6701E2C57717}" destId="{CCBE2F35-B449-4304-A4B7-EB4A0CE90FAA}" srcOrd="1" destOrd="0" presId="urn:microsoft.com/office/officeart/2008/layout/LinedList"/>
    <dgm:cxn modelId="{2F3E4259-4BA4-4A86-9FA2-F8439E58F8C5}" type="presParOf" srcId="{CCBE2F35-B449-4304-A4B7-EB4A0CE90FAA}" destId="{2E4F97BB-80AE-4B89-8B32-FB05A53BD028}" srcOrd="0" destOrd="0" presId="urn:microsoft.com/office/officeart/2008/layout/LinedList"/>
    <dgm:cxn modelId="{6256232C-5BDD-4029-BB2E-9D09060B66C8}" type="presParOf" srcId="{CCBE2F35-B449-4304-A4B7-EB4A0CE90FAA}" destId="{D1497074-FD56-4A1D-B803-63AFF8396209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0.xml><?xml version="1.0" encoding="utf-8"?>
<dgm:dataModel xmlns:dgm="http://schemas.openxmlformats.org/drawingml/2006/diagram" xmlns:a="http://schemas.openxmlformats.org/drawingml/2006/main">
  <dgm:ptLst>
    <dgm:pt modelId="{F6A6A009-DAC8-4BB0-99AE-24844FAA4148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C9B1D7F9-0B48-4994-B753-441DE3CF9610}">
      <dgm:prSet/>
      <dgm:spPr/>
      <dgm:t>
        <a:bodyPr/>
        <a:lstStyle/>
        <a:p>
          <a:pPr rtl="0"/>
          <a:r>
            <a:rPr lang="it-IT" dirty="0" smtClean="0"/>
            <a:t>FINCANTIERI</a:t>
          </a:r>
          <a:endParaRPr lang="it-IT" dirty="0"/>
        </a:p>
      </dgm:t>
    </dgm:pt>
    <dgm:pt modelId="{D005F268-C0E1-4C35-911F-7E83C5176427}" type="parTrans" cxnId="{8B866A4D-37D9-42AB-88F8-63570C375EBC}">
      <dgm:prSet/>
      <dgm:spPr/>
      <dgm:t>
        <a:bodyPr/>
        <a:lstStyle/>
        <a:p>
          <a:endParaRPr lang="it-IT"/>
        </a:p>
      </dgm:t>
    </dgm:pt>
    <dgm:pt modelId="{E54828E2-E6E5-4F0D-87A8-289DF256CA0B}" type="sibTrans" cxnId="{8B866A4D-37D9-42AB-88F8-63570C375EBC}">
      <dgm:prSet/>
      <dgm:spPr/>
      <dgm:t>
        <a:bodyPr/>
        <a:lstStyle/>
        <a:p>
          <a:endParaRPr lang="it-IT"/>
        </a:p>
      </dgm:t>
    </dgm:pt>
    <dgm:pt modelId="{7155DC41-AB81-47B8-B4E4-76997C2EAAEF}">
      <dgm:prSet/>
      <dgm:spPr/>
      <dgm:t>
        <a:bodyPr/>
        <a:lstStyle/>
        <a:p>
          <a:pPr rtl="0"/>
          <a:r>
            <a:rPr lang="it-IT" dirty="0" smtClean="0"/>
            <a:t>INTERMARINE</a:t>
          </a:r>
          <a:endParaRPr lang="it-IT" dirty="0"/>
        </a:p>
      </dgm:t>
    </dgm:pt>
    <dgm:pt modelId="{8DF13947-852C-453D-BE4C-196564286BFD}" type="parTrans" cxnId="{8887A598-DF1E-4977-B8D6-C0F52C716155}">
      <dgm:prSet/>
      <dgm:spPr/>
      <dgm:t>
        <a:bodyPr/>
        <a:lstStyle/>
        <a:p>
          <a:endParaRPr lang="it-IT"/>
        </a:p>
      </dgm:t>
    </dgm:pt>
    <dgm:pt modelId="{F9718E29-C0F9-4E52-B8E3-CE8FACB1F0AB}" type="sibTrans" cxnId="{8887A598-DF1E-4977-B8D6-C0F52C716155}">
      <dgm:prSet/>
      <dgm:spPr/>
      <dgm:t>
        <a:bodyPr/>
        <a:lstStyle/>
        <a:p>
          <a:endParaRPr lang="it-IT"/>
        </a:p>
      </dgm:t>
    </dgm:pt>
    <dgm:pt modelId="{B08092F8-1193-4930-B8BF-50824FBFA4FA}">
      <dgm:prSet/>
      <dgm:spPr/>
      <dgm:t>
        <a:bodyPr/>
        <a:lstStyle/>
        <a:p>
          <a:pPr rtl="0"/>
          <a:r>
            <a:rPr lang="it-IT" dirty="0" smtClean="0"/>
            <a:t>Termomeccanica</a:t>
          </a:r>
          <a:endParaRPr lang="it-IT" dirty="0"/>
        </a:p>
      </dgm:t>
    </dgm:pt>
    <dgm:pt modelId="{CA7DCEF5-CE5F-4CCC-81D7-DEB68F1C427C}" type="parTrans" cxnId="{CB9AAC6F-6D5D-4869-B87E-AC7493410FB3}">
      <dgm:prSet/>
      <dgm:spPr/>
      <dgm:t>
        <a:bodyPr/>
        <a:lstStyle/>
        <a:p>
          <a:endParaRPr lang="it-IT"/>
        </a:p>
      </dgm:t>
    </dgm:pt>
    <dgm:pt modelId="{8D19CFD6-2B5F-4E80-8044-39C34D2986F8}" type="sibTrans" cxnId="{CB9AAC6F-6D5D-4869-B87E-AC7493410FB3}">
      <dgm:prSet/>
      <dgm:spPr/>
      <dgm:t>
        <a:bodyPr/>
        <a:lstStyle/>
        <a:p>
          <a:endParaRPr lang="it-IT"/>
        </a:p>
      </dgm:t>
    </dgm:pt>
    <dgm:pt modelId="{A0DC70D8-E6B2-4FDC-B796-389F3B36A731}">
      <dgm:prSet/>
      <dgm:spPr/>
      <dgm:t>
        <a:bodyPr/>
        <a:lstStyle/>
        <a:p>
          <a:pPr rtl="0"/>
          <a:r>
            <a:rPr lang="it-IT" smtClean="0"/>
            <a:t>FINMECCANICA </a:t>
          </a:r>
          <a:endParaRPr lang="it-IT"/>
        </a:p>
      </dgm:t>
    </dgm:pt>
    <dgm:pt modelId="{4839E602-A469-489D-8BAA-FCF2ADF5DCAD}" type="parTrans" cxnId="{3B3B1790-D8FD-425B-872E-982C7D439EB3}">
      <dgm:prSet/>
      <dgm:spPr/>
      <dgm:t>
        <a:bodyPr/>
        <a:lstStyle/>
        <a:p>
          <a:endParaRPr lang="it-IT"/>
        </a:p>
      </dgm:t>
    </dgm:pt>
    <dgm:pt modelId="{7BA620E2-4981-45CF-AAF7-3DDECDF45ECE}" type="sibTrans" cxnId="{3B3B1790-D8FD-425B-872E-982C7D439EB3}">
      <dgm:prSet/>
      <dgm:spPr/>
      <dgm:t>
        <a:bodyPr/>
        <a:lstStyle/>
        <a:p>
          <a:endParaRPr lang="it-IT"/>
        </a:p>
      </dgm:t>
    </dgm:pt>
    <dgm:pt modelId="{2FF632DA-6F56-4935-A6A3-E13B7ADB74D4}" type="pres">
      <dgm:prSet presAssocID="{F6A6A009-DAC8-4BB0-99AE-24844FAA4148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9497FDF0-B9D1-4451-88E5-ECC7C842A9B7}" type="pres">
      <dgm:prSet presAssocID="{C9B1D7F9-0B48-4994-B753-441DE3CF9610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4C74006-725D-4F27-AA5E-DB42271C19D7}" type="pres">
      <dgm:prSet presAssocID="{E54828E2-E6E5-4F0D-87A8-289DF256CA0B}" presName="spacer" presStyleCnt="0"/>
      <dgm:spPr/>
    </dgm:pt>
    <dgm:pt modelId="{5E1783F0-D1AA-4FE1-8E77-278DC0337E1D}" type="pres">
      <dgm:prSet presAssocID="{7155DC41-AB81-47B8-B4E4-76997C2EAAEF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9A88614-4B1F-4610-AEED-8CF955DF1916}" type="pres">
      <dgm:prSet presAssocID="{F9718E29-C0F9-4E52-B8E3-CE8FACB1F0AB}" presName="spacer" presStyleCnt="0"/>
      <dgm:spPr/>
    </dgm:pt>
    <dgm:pt modelId="{BEE0A770-6A34-4152-AE46-D6E5339683B7}" type="pres">
      <dgm:prSet presAssocID="{B08092F8-1193-4930-B8BF-50824FBFA4FA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E7134FA-B40C-4902-91E2-67A6686A71E6}" type="pres">
      <dgm:prSet presAssocID="{8D19CFD6-2B5F-4E80-8044-39C34D2986F8}" presName="spacer" presStyleCnt="0"/>
      <dgm:spPr/>
    </dgm:pt>
    <dgm:pt modelId="{AC6B2BCD-3C48-43EF-A02F-BA4A3D338851}" type="pres">
      <dgm:prSet presAssocID="{A0DC70D8-E6B2-4FDC-B796-389F3B36A731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887A598-DF1E-4977-B8D6-C0F52C716155}" srcId="{F6A6A009-DAC8-4BB0-99AE-24844FAA4148}" destId="{7155DC41-AB81-47B8-B4E4-76997C2EAAEF}" srcOrd="1" destOrd="0" parTransId="{8DF13947-852C-453D-BE4C-196564286BFD}" sibTransId="{F9718E29-C0F9-4E52-B8E3-CE8FACB1F0AB}"/>
    <dgm:cxn modelId="{CB9AAC6F-6D5D-4869-B87E-AC7493410FB3}" srcId="{F6A6A009-DAC8-4BB0-99AE-24844FAA4148}" destId="{B08092F8-1193-4930-B8BF-50824FBFA4FA}" srcOrd="2" destOrd="0" parTransId="{CA7DCEF5-CE5F-4CCC-81D7-DEB68F1C427C}" sibTransId="{8D19CFD6-2B5F-4E80-8044-39C34D2986F8}"/>
    <dgm:cxn modelId="{66C48082-786A-432E-BAA7-81AB88E0FF3A}" type="presOf" srcId="{C9B1D7F9-0B48-4994-B753-441DE3CF9610}" destId="{9497FDF0-B9D1-4451-88E5-ECC7C842A9B7}" srcOrd="0" destOrd="0" presId="urn:microsoft.com/office/officeart/2005/8/layout/vList2"/>
    <dgm:cxn modelId="{8B866A4D-37D9-42AB-88F8-63570C375EBC}" srcId="{F6A6A009-DAC8-4BB0-99AE-24844FAA4148}" destId="{C9B1D7F9-0B48-4994-B753-441DE3CF9610}" srcOrd="0" destOrd="0" parTransId="{D005F268-C0E1-4C35-911F-7E83C5176427}" sibTransId="{E54828E2-E6E5-4F0D-87A8-289DF256CA0B}"/>
    <dgm:cxn modelId="{85460023-4795-4931-9BCE-63444255356A}" type="presOf" srcId="{F6A6A009-DAC8-4BB0-99AE-24844FAA4148}" destId="{2FF632DA-6F56-4935-A6A3-E13B7ADB74D4}" srcOrd="0" destOrd="0" presId="urn:microsoft.com/office/officeart/2005/8/layout/vList2"/>
    <dgm:cxn modelId="{3B3B1790-D8FD-425B-872E-982C7D439EB3}" srcId="{F6A6A009-DAC8-4BB0-99AE-24844FAA4148}" destId="{A0DC70D8-E6B2-4FDC-B796-389F3B36A731}" srcOrd="3" destOrd="0" parTransId="{4839E602-A469-489D-8BAA-FCF2ADF5DCAD}" sibTransId="{7BA620E2-4981-45CF-AAF7-3DDECDF45ECE}"/>
    <dgm:cxn modelId="{F493B95C-0ADA-4ACB-8DD2-A356ABA16DC5}" type="presOf" srcId="{7155DC41-AB81-47B8-B4E4-76997C2EAAEF}" destId="{5E1783F0-D1AA-4FE1-8E77-278DC0337E1D}" srcOrd="0" destOrd="0" presId="urn:microsoft.com/office/officeart/2005/8/layout/vList2"/>
    <dgm:cxn modelId="{DF6458DD-5095-4EF0-81AF-CD186F190F02}" type="presOf" srcId="{A0DC70D8-E6B2-4FDC-B796-389F3B36A731}" destId="{AC6B2BCD-3C48-43EF-A02F-BA4A3D338851}" srcOrd="0" destOrd="0" presId="urn:microsoft.com/office/officeart/2005/8/layout/vList2"/>
    <dgm:cxn modelId="{1C56244B-FA27-423C-A051-17BDE2262844}" type="presOf" srcId="{B08092F8-1193-4930-B8BF-50824FBFA4FA}" destId="{BEE0A770-6A34-4152-AE46-D6E5339683B7}" srcOrd="0" destOrd="0" presId="urn:microsoft.com/office/officeart/2005/8/layout/vList2"/>
    <dgm:cxn modelId="{6B860E6A-2D97-4BB1-BF19-582D4DCFF6A0}" type="presParOf" srcId="{2FF632DA-6F56-4935-A6A3-E13B7ADB74D4}" destId="{9497FDF0-B9D1-4451-88E5-ECC7C842A9B7}" srcOrd="0" destOrd="0" presId="urn:microsoft.com/office/officeart/2005/8/layout/vList2"/>
    <dgm:cxn modelId="{B5FCA1C0-4006-4500-B5F4-6AE09D7CD5D4}" type="presParOf" srcId="{2FF632DA-6F56-4935-A6A3-E13B7ADB74D4}" destId="{84C74006-725D-4F27-AA5E-DB42271C19D7}" srcOrd="1" destOrd="0" presId="urn:microsoft.com/office/officeart/2005/8/layout/vList2"/>
    <dgm:cxn modelId="{EB28E689-8EB2-436F-991D-3B512B1332DC}" type="presParOf" srcId="{2FF632DA-6F56-4935-A6A3-E13B7ADB74D4}" destId="{5E1783F0-D1AA-4FE1-8E77-278DC0337E1D}" srcOrd="2" destOrd="0" presId="urn:microsoft.com/office/officeart/2005/8/layout/vList2"/>
    <dgm:cxn modelId="{ECC8DAD4-10B7-42B3-85AB-7C29698D49DF}" type="presParOf" srcId="{2FF632DA-6F56-4935-A6A3-E13B7ADB74D4}" destId="{59A88614-4B1F-4610-AEED-8CF955DF1916}" srcOrd="3" destOrd="0" presId="urn:microsoft.com/office/officeart/2005/8/layout/vList2"/>
    <dgm:cxn modelId="{E07DB9C5-CB8F-4BFC-87A2-EE09A13051B9}" type="presParOf" srcId="{2FF632DA-6F56-4935-A6A3-E13B7ADB74D4}" destId="{BEE0A770-6A34-4152-AE46-D6E5339683B7}" srcOrd="4" destOrd="0" presId="urn:microsoft.com/office/officeart/2005/8/layout/vList2"/>
    <dgm:cxn modelId="{3F093EFE-6D70-496A-97CC-1CC2322110C6}" type="presParOf" srcId="{2FF632DA-6F56-4935-A6A3-E13B7ADB74D4}" destId="{FE7134FA-B40C-4902-91E2-67A6686A71E6}" srcOrd="5" destOrd="0" presId="urn:microsoft.com/office/officeart/2005/8/layout/vList2"/>
    <dgm:cxn modelId="{70A87290-3106-4626-9D9D-E839F50CF32E}" type="presParOf" srcId="{2FF632DA-6F56-4935-A6A3-E13B7ADB74D4}" destId="{AC6B2BCD-3C48-43EF-A02F-BA4A3D338851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1.xml><?xml version="1.0" encoding="utf-8"?>
<dgm:dataModel xmlns:dgm="http://schemas.openxmlformats.org/drawingml/2006/diagram" xmlns:a="http://schemas.openxmlformats.org/drawingml/2006/main">
  <dgm:ptLst>
    <dgm:pt modelId="{07F93C79-9A4C-47BD-96E2-CCB4179A8D45}" type="doc">
      <dgm:prSet loTypeId="urn:microsoft.com/office/officeart/2005/8/layout/vList2" loCatId="list" qsTypeId="urn:microsoft.com/office/officeart/2005/8/quickstyle/simple1" qsCatId="simple" csTypeId="urn:microsoft.com/office/officeart/2005/8/colors/accent1_1" csCatId="accent1"/>
      <dgm:spPr/>
      <dgm:t>
        <a:bodyPr/>
        <a:lstStyle/>
        <a:p>
          <a:endParaRPr lang="it-IT"/>
        </a:p>
      </dgm:t>
    </dgm:pt>
    <dgm:pt modelId="{72541E87-ECBC-41EA-BCF8-5ECC9C520271}">
      <dgm:prSet/>
      <dgm:spPr/>
      <dgm:t>
        <a:bodyPr/>
        <a:lstStyle/>
        <a:p>
          <a:pPr rtl="0"/>
          <a:r>
            <a:rPr lang="it-IT" dirty="0" smtClean="0"/>
            <a:t>In ITALIA esistono centri di comprovata eccellenza per il supporto allo sviluppo delle tematiche di ricerca evidenziate: </a:t>
          </a:r>
          <a:endParaRPr lang="it-IT" dirty="0"/>
        </a:p>
      </dgm:t>
    </dgm:pt>
    <dgm:pt modelId="{BF1D5DF4-1F63-4692-8444-8DCEF29643C8}" type="parTrans" cxnId="{15E9DEAC-8E6E-4F8F-9FE5-19734E0C7053}">
      <dgm:prSet/>
      <dgm:spPr/>
      <dgm:t>
        <a:bodyPr/>
        <a:lstStyle/>
        <a:p>
          <a:endParaRPr lang="it-IT"/>
        </a:p>
      </dgm:t>
    </dgm:pt>
    <dgm:pt modelId="{E7812BDA-CC93-4199-97BA-191722FB159A}" type="sibTrans" cxnId="{15E9DEAC-8E6E-4F8F-9FE5-19734E0C7053}">
      <dgm:prSet/>
      <dgm:spPr/>
      <dgm:t>
        <a:bodyPr/>
        <a:lstStyle/>
        <a:p>
          <a:endParaRPr lang="it-IT"/>
        </a:p>
      </dgm:t>
    </dgm:pt>
    <dgm:pt modelId="{7BCECC0F-3607-40D7-BE05-C60AEAB359A4}" type="pres">
      <dgm:prSet presAssocID="{07F93C79-9A4C-47BD-96E2-CCB4179A8D4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C6604DD6-FA5A-4280-9650-3348635E6B08}" type="pres">
      <dgm:prSet presAssocID="{72541E87-ECBC-41EA-BCF8-5ECC9C520271}" presName="parentText" presStyleLbl="node1" presStyleIdx="0" presStyleCnt="1" custLinFactNeighborX="6122" custLinFactNeighborY="2147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15E9DEAC-8E6E-4F8F-9FE5-19734E0C7053}" srcId="{07F93C79-9A4C-47BD-96E2-CCB4179A8D45}" destId="{72541E87-ECBC-41EA-BCF8-5ECC9C520271}" srcOrd="0" destOrd="0" parTransId="{BF1D5DF4-1F63-4692-8444-8DCEF29643C8}" sibTransId="{E7812BDA-CC93-4199-97BA-191722FB159A}"/>
    <dgm:cxn modelId="{C0D93F45-5B26-46DE-AB78-FAD95019B6FA}" type="presOf" srcId="{07F93C79-9A4C-47BD-96E2-CCB4179A8D45}" destId="{7BCECC0F-3607-40D7-BE05-C60AEAB359A4}" srcOrd="0" destOrd="0" presId="urn:microsoft.com/office/officeart/2005/8/layout/vList2"/>
    <dgm:cxn modelId="{4630968D-0618-47E9-B033-9BD0C4CD65A0}" type="presOf" srcId="{72541E87-ECBC-41EA-BCF8-5ECC9C520271}" destId="{C6604DD6-FA5A-4280-9650-3348635E6B08}" srcOrd="0" destOrd="0" presId="urn:microsoft.com/office/officeart/2005/8/layout/vList2"/>
    <dgm:cxn modelId="{FAA30045-C5A8-4DFE-84C9-036D71338238}" type="presParOf" srcId="{7BCECC0F-3607-40D7-BE05-C60AEAB359A4}" destId="{C6604DD6-FA5A-4280-9650-3348635E6B0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82.xml><?xml version="1.0" encoding="utf-8"?>
<dgm:dataModel xmlns:dgm="http://schemas.openxmlformats.org/drawingml/2006/diagram" xmlns:a="http://schemas.openxmlformats.org/drawingml/2006/main">
  <dgm:ptLst>
    <dgm:pt modelId="{1D9E116C-EECA-4966-9D4A-62A458953E77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it-IT"/>
        </a:p>
      </dgm:t>
    </dgm:pt>
    <dgm:pt modelId="{698D6588-1977-438B-B071-E6CE06DCE1FA}">
      <dgm:prSet/>
      <dgm:spPr/>
      <dgm:t>
        <a:bodyPr/>
        <a:lstStyle/>
        <a:p>
          <a:pPr rtl="0"/>
          <a:r>
            <a:rPr lang="it-IT" smtClean="0"/>
            <a:t>Cetena </a:t>
          </a:r>
          <a:endParaRPr lang="it-IT"/>
        </a:p>
      </dgm:t>
    </dgm:pt>
    <dgm:pt modelId="{65442509-E375-4CB4-83F7-69F7A30FC0AC}" type="parTrans" cxnId="{A2AF2274-3D7B-49E4-A843-E74D9CFEDE01}">
      <dgm:prSet/>
      <dgm:spPr/>
      <dgm:t>
        <a:bodyPr/>
        <a:lstStyle/>
        <a:p>
          <a:endParaRPr lang="it-IT"/>
        </a:p>
      </dgm:t>
    </dgm:pt>
    <dgm:pt modelId="{DE415C33-0FFA-4B9C-8927-CC31E908E0A5}" type="sibTrans" cxnId="{A2AF2274-3D7B-49E4-A843-E74D9CFEDE01}">
      <dgm:prSet/>
      <dgm:spPr/>
      <dgm:t>
        <a:bodyPr/>
        <a:lstStyle/>
        <a:p>
          <a:endParaRPr lang="it-IT"/>
        </a:p>
      </dgm:t>
    </dgm:pt>
    <dgm:pt modelId="{D1F07FF8-693D-42C8-B1DF-A1F745A8872A}">
      <dgm:prSet/>
      <dgm:spPr/>
      <dgm:t>
        <a:bodyPr/>
        <a:lstStyle/>
        <a:p>
          <a:pPr rtl="0"/>
          <a:r>
            <a:rPr lang="it-IT" smtClean="0"/>
            <a:t>•UNIVERSITA’ di GENOVA NAPOLI, TRIESTE, MESSINA </a:t>
          </a:r>
          <a:endParaRPr lang="it-IT"/>
        </a:p>
      </dgm:t>
    </dgm:pt>
    <dgm:pt modelId="{0E5AE9D8-2D73-46C1-BC00-075871BAEF83}" type="parTrans" cxnId="{5EAD4F2C-82A4-4B6A-87E3-01DD0111E6C0}">
      <dgm:prSet/>
      <dgm:spPr/>
      <dgm:t>
        <a:bodyPr/>
        <a:lstStyle/>
        <a:p>
          <a:endParaRPr lang="it-IT"/>
        </a:p>
      </dgm:t>
    </dgm:pt>
    <dgm:pt modelId="{80F2F8F3-2ECA-4006-8B0A-CFF4E722A0E6}" type="sibTrans" cxnId="{5EAD4F2C-82A4-4B6A-87E3-01DD0111E6C0}">
      <dgm:prSet/>
      <dgm:spPr/>
      <dgm:t>
        <a:bodyPr/>
        <a:lstStyle/>
        <a:p>
          <a:endParaRPr lang="it-IT"/>
        </a:p>
      </dgm:t>
    </dgm:pt>
    <dgm:pt modelId="{19E9CB13-41D3-43FC-8DED-65F6C76EA069}">
      <dgm:prSet/>
      <dgm:spPr/>
      <dgm:t>
        <a:bodyPr/>
        <a:lstStyle/>
        <a:p>
          <a:pPr rtl="0"/>
          <a:r>
            <a:rPr lang="it-IT" smtClean="0"/>
            <a:t>•CNR (INSEAN, ISSIA, ITAE…) </a:t>
          </a:r>
          <a:endParaRPr lang="it-IT"/>
        </a:p>
      </dgm:t>
    </dgm:pt>
    <dgm:pt modelId="{A364C586-56C6-4726-9BFA-10BAD6DCFCC7}" type="parTrans" cxnId="{DFF09D28-1564-47C0-98B9-6A0551E6E225}">
      <dgm:prSet/>
      <dgm:spPr/>
      <dgm:t>
        <a:bodyPr/>
        <a:lstStyle/>
        <a:p>
          <a:endParaRPr lang="it-IT"/>
        </a:p>
      </dgm:t>
    </dgm:pt>
    <dgm:pt modelId="{35E61CE8-D16F-4A18-A572-DC5698B76E4B}" type="sibTrans" cxnId="{DFF09D28-1564-47C0-98B9-6A0551E6E225}">
      <dgm:prSet/>
      <dgm:spPr/>
      <dgm:t>
        <a:bodyPr/>
        <a:lstStyle/>
        <a:p>
          <a:endParaRPr lang="it-IT"/>
        </a:p>
      </dgm:t>
    </dgm:pt>
    <dgm:pt modelId="{6BAE36B9-5634-4B30-A3D3-ED817C8416BD}">
      <dgm:prSet/>
      <dgm:spPr/>
      <dgm:t>
        <a:bodyPr/>
        <a:lstStyle/>
        <a:p>
          <a:pPr rtl="0"/>
          <a:r>
            <a:rPr lang="it-IT" smtClean="0"/>
            <a:t>•NURC </a:t>
          </a:r>
          <a:endParaRPr lang="it-IT"/>
        </a:p>
      </dgm:t>
    </dgm:pt>
    <dgm:pt modelId="{D1F35619-FAA6-44B6-81B7-BC0C34935546}" type="parTrans" cxnId="{9F5B5E8B-064B-4476-8F64-D164CB0CA55E}">
      <dgm:prSet/>
      <dgm:spPr/>
      <dgm:t>
        <a:bodyPr/>
        <a:lstStyle/>
        <a:p>
          <a:endParaRPr lang="it-IT"/>
        </a:p>
      </dgm:t>
    </dgm:pt>
    <dgm:pt modelId="{A0DB4454-80A5-426F-BAFD-C5E8D22E8B23}" type="sibTrans" cxnId="{9F5B5E8B-064B-4476-8F64-D164CB0CA55E}">
      <dgm:prSet/>
      <dgm:spPr/>
      <dgm:t>
        <a:bodyPr/>
        <a:lstStyle/>
        <a:p>
          <a:endParaRPr lang="it-IT"/>
        </a:p>
      </dgm:t>
    </dgm:pt>
    <dgm:pt modelId="{E544517B-FAAB-402E-81A7-C9977EE19A00}">
      <dgm:prSet/>
      <dgm:spPr/>
      <dgm:t>
        <a:bodyPr/>
        <a:lstStyle/>
        <a:p>
          <a:pPr rtl="0"/>
          <a:r>
            <a:rPr lang="it-IT" smtClean="0"/>
            <a:t>•RINA </a:t>
          </a:r>
          <a:endParaRPr lang="it-IT"/>
        </a:p>
      </dgm:t>
    </dgm:pt>
    <dgm:pt modelId="{9A6D799C-92E9-45AE-97C8-6879CDDE4122}" type="parTrans" cxnId="{E8CD8101-ED4F-46D6-9034-CC074C429696}">
      <dgm:prSet/>
      <dgm:spPr/>
      <dgm:t>
        <a:bodyPr/>
        <a:lstStyle/>
        <a:p>
          <a:endParaRPr lang="it-IT"/>
        </a:p>
      </dgm:t>
    </dgm:pt>
    <dgm:pt modelId="{670F42C1-D25C-4095-ABCB-B2E1C94E9CD4}" type="sibTrans" cxnId="{E8CD8101-ED4F-46D6-9034-CC074C429696}">
      <dgm:prSet/>
      <dgm:spPr/>
      <dgm:t>
        <a:bodyPr/>
        <a:lstStyle/>
        <a:p>
          <a:endParaRPr lang="it-IT"/>
        </a:p>
      </dgm:t>
    </dgm:pt>
    <dgm:pt modelId="{D91CAE3D-B7BD-4FEA-B2E1-BE25931ACB2C}">
      <dgm:prSet/>
      <dgm:spPr/>
      <dgm:t>
        <a:bodyPr/>
        <a:lstStyle/>
        <a:p>
          <a:pPr rtl="0"/>
          <a:r>
            <a:rPr lang="it-IT" smtClean="0"/>
            <a:t>•IDS</a:t>
          </a:r>
          <a:endParaRPr lang="it-IT"/>
        </a:p>
      </dgm:t>
    </dgm:pt>
    <dgm:pt modelId="{73514E29-C97C-49E8-AD4C-EBCC84184BAF}" type="parTrans" cxnId="{EA55FA7F-7BB6-480A-91A2-41F174D1F48D}">
      <dgm:prSet/>
      <dgm:spPr/>
      <dgm:t>
        <a:bodyPr/>
        <a:lstStyle/>
        <a:p>
          <a:endParaRPr lang="it-IT"/>
        </a:p>
      </dgm:t>
    </dgm:pt>
    <dgm:pt modelId="{AD17263D-1E65-457F-8173-2B3461E778A1}" type="sibTrans" cxnId="{EA55FA7F-7BB6-480A-91A2-41F174D1F48D}">
      <dgm:prSet/>
      <dgm:spPr/>
      <dgm:t>
        <a:bodyPr/>
        <a:lstStyle/>
        <a:p>
          <a:endParaRPr lang="it-IT"/>
        </a:p>
      </dgm:t>
    </dgm:pt>
    <dgm:pt modelId="{291FADD0-DB81-4E09-9D1A-A6B5081C05DD}" type="pres">
      <dgm:prSet presAssocID="{1D9E116C-EECA-4966-9D4A-62A458953E77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ABBF27C-4B46-4A04-B2A6-F360DCE07652}" type="pres">
      <dgm:prSet presAssocID="{698D6588-1977-438B-B071-E6CE06DCE1FA}" presName="parentText" presStyleLbl="node1" presStyleIdx="0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55F0737-AB8E-4F15-8E5B-C4063FEC3B81}" type="pres">
      <dgm:prSet presAssocID="{DE415C33-0FFA-4B9C-8927-CC31E908E0A5}" presName="spacer" presStyleCnt="0"/>
      <dgm:spPr/>
    </dgm:pt>
    <dgm:pt modelId="{0F445972-0B73-402E-93D8-A9179C2F7CC6}" type="pres">
      <dgm:prSet presAssocID="{D1F07FF8-693D-42C8-B1DF-A1F745A8872A}" presName="parentText" presStyleLbl="node1" presStyleIdx="1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686CC29-D8A7-495F-A5DE-7B0A3A2A8859}" type="pres">
      <dgm:prSet presAssocID="{80F2F8F3-2ECA-4006-8B0A-CFF4E722A0E6}" presName="spacer" presStyleCnt="0"/>
      <dgm:spPr/>
    </dgm:pt>
    <dgm:pt modelId="{0D0FEAA0-1194-417E-A725-6C0D1C7A380E}" type="pres">
      <dgm:prSet presAssocID="{19E9CB13-41D3-43FC-8DED-65F6C76EA069}" presName="parentText" presStyleLbl="node1" presStyleIdx="2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09F0260F-E534-496B-8736-BA039DD0F217}" type="pres">
      <dgm:prSet presAssocID="{35E61CE8-D16F-4A18-A572-DC5698B76E4B}" presName="spacer" presStyleCnt="0"/>
      <dgm:spPr/>
    </dgm:pt>
    <dgm:pt modelId="{A4AD3FDE-A000-4690-BF8B-A1A7186F7573}" type="pres">
      <dgm:prSet presAssocID="{6BAE36B9-5634-4B30-A3D3-ED817C8416BD}" presName="parentText" presStyleLbl="node1" presStyleIdx="3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82EC039-8C5C-4580-814E-653FB28CAA09}" type="pres">
      <dgm:prSet presAssocID="{A0DB4454-80A5-426F-BAFD-C5E8D22E8B23}" presName="spacer" presStyleCnt="0"/>
      <dgm:spPr/>
    </dgm:pt>
    <dgm:pt modelId="{7AD259D3-1D34-46AC-BF3B-33492A9FD8E5}" type="pres">
      <dgm:prSet presAssocID="{E544517B-FAAB-402E-81A7-C9977EE19A00}" presName="parentText" presStyleLbl="node1" presStyleIdx="4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4A297B9-1FE8-486A-8E4F-2B85AA9BC41E}" type="pres">
      <dgm:prSet presAssocID="{670F42C1-D25C-4095-ABCB-B2E1C94E9CD4}" presName="spacer" presStyleCnt="0"/>
      <dgm:spPr/>
    </dgm:pt>
    <dgm:pt modelId="{354F76DE-D69E-4FC3-86B6-54457569858F}" type="pres">
      <dgm:prSet presAssocID="{D91CAE3D-B7BD-4FEA-B2E1-BE25931ACB2C}" presName="parentText" presStyleLbl="node1" presStyleIdx="5" presStyleCnt="6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62E62BC-1635-4B7E-85CE-CCC2D5DFFF56}" type="presOf" srcId="{D91CAE3D-B7BD-4FEA-B2E1-BE25931ACB2C}" destId="{354F76DE-D69E-4FC3-86B6-54457569858F}" srcOrd="0" destOrd="0" presId="urn:microsoft.com/office/officeart/2005/8/layout/vList2"/>
    <dgm:cxn modelId="{A2AF2274-3D7B-49E4-A843-E74D9CFEDE01}" srcId="{1D9E116C-EECA-4966-9D4A-62A458953E77}" destId="{698D6588-1977-438B-B071-E6CE06DCE1FA}" srcOrd="0" destOrd="0" parTransId="{65442509-E375-4CB4-83F7-69F7A30FC0AC}" sibTransId="{DE415C33-0FFA-4B9C-8927-CC31E908E0A5}"/>
    <dgm:cxn modelId="{650F34DC-ADED-4146-9096-10F9C1592251}" type="presOf" srcId="{19E9CB13-41D3-43FC-8DED-65F6C76EA069}" destId="{0D0FEAA0-1194-417E-A725-6C0D1C7A380E}" srcOrd="0" destOrd="0" presId="urn:microsoft.com/office/officeart/2005/8/layout/vList2"/>
    <dgm:cxn modelId="{2F49B7D0-E194-4AFA-8F0A-5DA0BBA48490}" type="presOf" srcId="{D1F07FF8-693D-42C8-B1DF-A1F745A8872A}" destId="{0F445972-0B73-402E-93D8-A9179C2F7CC6}" srcOrd="0" destOrd="0" presId="urn:microsoft.com/office/officeart/2005/8/layout/vList2"/>
    <dgm:cxn modelId="{DFF09D28-1564-47C0-98B9-6A0551E6E225}" srcId="{1D9E116C-EECA-4966-9D4A-62A458953E77}" destId="{19E9CB13-41D3-43FC-8DED-65F6C76EA069}" srcOrd="2" destOrd="0" parTransId="{A364C586-56C6-4726-9BFA-10BAD6DCFCC7}" sibTransId="{35E61CE8-D16F-4A18-A572-DC5698B76E4B}"/>
    <dgm:cxn modelId="{7EFC6D6D-5D56-4E80-AE40-B083969876F8}" type="presOf" srcId="{E544517B-FAAB-402E-81A7-C9977EE19A00}" destId="{7AD259D3-1D34-46AC-BF3B-33492A9FD8E5}" srcOrd="0" destOrd="0" presId="urn:microsoft.com/office/officeart/2005/8/layout/vList2"/>
    <dgm:cxn modelId="{51796EC2-9346-4EA6-BC49-1F8E9F446607}" type="presOf" srcId="{1D9E116C-EECA-4966-9D4A-62A458953E77}" destId="{291FADD0-DB81-4E09-9D1A-A6B5081C05DD}" srcOrd="0" destOrd="0" presId="urn:microsoft.com/office/officeart/2005/8/layout/vList2"/>
    <dgm:cxn modelId="{6267EC37-253F-4282-A40D-B80626CE587D}" type="presOf" srcId="{6BAE36B9-5634-4B30-A3D3-ED817C8416BD}" destId="{A4AD3FDE-A000-4690-BF8B-A1A7186F7573}" srcOrd="0" destOrd="0" presId="urn:microsoft.com/office/officeart/2005/8/layout/vList2"/>
    <dgm:cxn modelId="{EA55FA7F-7BB6-480A-91A2-41F174D1F48D}" srcId="{1D9E116C-EECA-4966-9D4A-62A458953E77}" destId="{D91CAE3D-B7BD-4FEA-B2E1-BE25931ACB2C}" srcOrd="5" destOrd="0" parTransId="{73514E29-C97C-49E8-AD4C-EBCC84184BAF}" sibTransId="{AD17263D-1E65-457F-8173-2B3461E778A1}"/>
    <dgm:cxn modelId="{9F5B5E8B-064B-4476-8F64-D164CB0CA55E}" srcId="{1D9E116C-EECA-4966-9D4A-62A458953E77}" destId="{6BAE36B9-5634-4B30-A3D3-ED817C8416BD}" srcOrd="3" destOrd="0" parTransId="{D1F35619-FAA6-44B6-81B7-BC0C34935546}" sibTransId="{A0DB4454-80A5-426F-BAFD-C5E8D22E8B23}"/>
    <dgm:cxn modelId="{C3B64945-ECBF-4E7B-8644-B4FA1CF25B71}" type="presOf" srcId="{698D6588-1977-438B-B071-E6CE06DCE1FA}" destId="{BABBF27C-4B46-4A04-B2A6-F360DCE07652}" srcOrd="0" destOrd="0" presId="urn:microsoft.com/office/officeart/2005/8/layout/vList2"/>
    <dgm:cxn modelId="{E8CD8101-ED4F-46D6-9034-CC074C429696}" srcId="{1D9E116C-EECA-4966-9D4A-62A458953E77}" destId="{E544517B-FAAB-402E-81A7-C9977EE19A00}" srcOrd="4" destOrd="0" parTransId="{9A6D799C-92E9-45AE-97C8-6879CDDE4122}" sibTransId="{670F42C1-D25C-4095-ABCB-B2E1C94E9CD4}"/>
    <dgm:cxn modelId="{5EAD4F2C-82A4-4B6A-87E3-01DD0111E6C0}" srcId="{1D9E116C-EECA-4966-9D4A-62A458953E77}" destId="{D1F07FF8-693D-42C8-B1DF-A1F745A8872A}" srcOrd="1" destOrd="0" parTransId="{0E5AE9D8-2D73-46C1-BC00-075871BAEF83}" sibTransId="{80F2F8F3-2ECA-4006-8B0A-CFF4E722A0E6}"/>
    <dgm:cxn modelId="{5386C3A5-0BA2-4BE0-B9A0-C07C619EF21F}" type="presParOf" srcId="{291FADD0-DB81-4E09-9D1A-A6B5081C05DD}" destId="{BABBF27C-4B46-4A04-B2A6-F360DCE07652}" srcOrd="0" destOrd="0" presId="urn:microsoft.com/office/officeart/2005/8/layout/vList2"/>
    <dgm:cxn modelId="{5AA3B9A2-EB06-4DDA-AD53-5A605D587675}" type="presParOf" srcId="{291FADD0-DB81-4E09-9D1A-A6B5081C05DD}" destId="{F55F0737-AB8E-4F15-8E5B-C4063FEC3B81}" srcOrd="1" destOrd="0" presId="urn:microsoft.com/office/officeart/2005/8/layout/vList2"/>
    <dgm:cxn modelId="{B84EDCFC-E28D-4034-A3D4-915ACACB63EF}" type="presParOf" srcId="{291FADD0-DB81-4E09-9D1A-A6B5081C05DD}" destId="{0F445972-0B73-402E-93D8-A9179C2F7CC6}" srcOrd="2" destOrd="0" presId="urn:microsoft.com/office/officeart/2005/8/layout/vList2"/>
    <dgm:cxn modelId="{1761A645-ACCC-4207-A68D-6D8633FCDFED}" type="presParOf" srcId="{291FADD0-DB81-4E09-9D1A-A6B5081C05DD}" destId="{A686CC29-D8A7-495F-A5DE-7B0A3A2A8859}" srcOrd="3" destOrd="0" presId="urn:microsoft.com/office/officeart/2005/8/layout/vList2"/>
    <dgm:cxn modelId="{B6C05104-95CD-461D-B718-FD82C75CECAE}" type="presParOf" srcId="{291FADD0-DB81-4E09-9D1A-A6B5081C05DD}" destId="{0D0FEAA0-1194-417E-A725-6C0D1C7A380E}" srcOrd="4" destOrd="0" presId="urn:microsoft.com/office/officeart/2005/8/layout/vList2"/>
    <dgm:cxn modelId="{BA30A12F-1534-4CE8-9D2E-6BB2A9D2F3B9}" type="presParOf" srcId="{291FADD0-DB81-4E09-9D1A-A6B5081C05DD}" destId="{09F0260F-E534-496B-8736-BA039DD0F217}" srcOrd="5" destOrd="0" presId="urn:microsoft.com/office/officeart/2005/8/layout/vList2"/>
    <dgm:cxn modelId="{18A4C826-4F41-45BD-BCF6-6D02ECC77DB4}" type="presParOf" srcId="{291FADD0-DB81-4E09-9D1A-A6B5081C05DD}" destId="{A4AD3FDE-A000-4690-BF8B-A1A7186F7573}" srcOrd="6" destOrd="0" presId="urn:microsoft.com/office/officeart/2005/8/layout/vList2"/>
    <dgm:cxn modelId="{2D66FAF3-EF85-44AF-812B-3859785450FF}" type="presParOf" srcId="{291FADD0-DB81-4E09-9D1A-A6B5081C05DD}" destId="{E82EC039-8C5C-4580-814E-653FB28CAA09}" srcOrd="7" destOrd="0" presId="urn:microsoft.com/office/officeart/2005/8/layout/vList2"/>
    <dgm:cxn modelId="{4FC1C94A-1FA9-4B73-AEC5-B73292EA2D02}" type="presParOf" srcId="{291FADD0-DB81-4E09-9D1A-A6B5081C05DD}" destId="{7AD259D3-1D34-46AC-BF3B-33492A9FD8E5}" srcOrd="8" destOrd="0" presId="urn:microsoft.com/office/officeart/2005/8/layout/vList2"/>
    <dgm:cxn modelId="{EAAAC2F9-8D2A-4BC7-8DB4-9142116C3C4E}" type="presParOf" srcId="{291FADD0-DB81-4E09-9D1A-A6B5081C05DD}" destId="{B4A297B9-1FE8-486A-8E4F-2B85AA9BC41E}" srcOrd="9" destOrd="0" presId="urn:microsoft.com/office/officeart/2005/8/layout/vList2"/>
    <dgm:cxn modelId="{C9BF452F-7572-441F-9200-24713DA8F7C1}" type="presParOf" srcId="{291FADD0-DB81-4E09-9D1A-A6B5081C05DD}" destId="{354F76DE-D69E-4FC3-86B6-54457569858F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83.xml><?xml version="1.0" encoding="utf-8"?>
<dgm:dataModel xmlns:dgm="http://schemas.openxmlformats.org/drawingml/2006/diagram" xmlns:a="http://schemas.openxmlformats.org/drawingml/2006/main">
  <dgm:ptLst>
    <dgm:pt modelId="{7F3256DC-A91D-4B31-9C5B-2CFEEC1CCED2}" type="doc">
      <dgm:prSet loTypeId="urn:microsoft.com/office/officeart/2005/8/layout/process4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it-IT"/>
        </a:p>
      </dgm:t>
    </dgm:pt>
    <dgm:pt modelId="{C8F16073-C276-439A-ACD9-147EC6C284E2}">
      <dgm:prSet custT="1"/>
      <dgm:spPr/>
      <dgm:t>
        <a:bodyPr/>
        <a:lstStyle/>
        <a:p>
          <a:pPr algn="ctr" rtl="0"/>
          <a:r>
            <a:rPr lang="it-IT" sz="1600" b="1" dirty="0" smtClean="0">
              <a:solidFill>
                <a:schemeClr val="bg2">
                  <a:lumMod val="25000"/>
                </a:schemeClr>
              </a:solidFill>
            </a:rPr>
            <a:t>ECONOMIA DEL MARE IN SICILIA</a:t>
          </a:r>
          <a:endParaRPr lang="it-IT" sz="1600" b="1" dirty="0">
            <a:solidFill>
              <a:schemeClr val="bg2">
                <a:lumMod val="25000"/>
              </a:schemeClr>
            </a:solidFill>
          </a:endParaRPr>
        </a:p>
      </dgm:t>
    </dgm:pt>
    <dgm:pt modelId="{808784CB-1010-44F0-A98D-127A4EEF81B4}" type="parTrans" cxnId="{D1335D08-878C-4E55-A228-338786DEC1CF}">
      <dgm:prSet/>
      <dgm:spPr/>
      <dgm:t>
        <a:bodyPr/>
        <a:lstStyle/>
        <a:p>
          <a:endParaRPr lang="it-IT"/>
        </a:p>
      </dgm:t>
    </dgm:pt>
    <dgm:pt modelId="{4E479A68-DA8B-4C5E-AFBB-E3F4273CA5B5}" type="sibTrans" cxnId="{D1335D08-878C-4E55-A228-338786DEC1CF}">
      <dgm:prSet/>
      <dgm:spPr/>
      <dgm:t>
        <a:bodyPr/>
        <a:lstStyle/>
        <a:p>
          <a:endParaRPr lang="it-IT"/>
        </a:p>
      </dgm:t>
    </dgm:pt>
    <dgm:pt modelId="{D35B36D8-340D-40DD-A69C-C3EB52E09957}" type="pres">
      <dgm:prSet presAssocID="{7F3256DC-A91D-4B31-9C5B-2CFEEC1CCED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8B779753-26D9-4747-AEF8-ED4B15205702}" type="pres">
      <dgm:prSet presAssocID="{C8F16073-C276-439A-ACD9-147EC6C284E2}" presName="boxAndChildren" presStyleCnt="0"/>
      <dgm:spPr/>
    </dgm:pt>
    <dgm:pt modelId="{6EC256FC-9A38-4083-BFE1-F68DE52602FB}" type="pres">
      <dgm:prSet presAssocID="{C8F16073-C276-439A-ACD9-147EC6C284E2}" presName="parentTextBox" presStyleLbl="node1" presStyleIdx="0" presStyleCnt="1"/>
      <dgm:spPr/>
      <dgm:t>
        <a:bodyPr/>
        <a:lstStyle/>
        <a:p>
          <a:endParaRPr lang="it-IT"/>
        </a:p>
      </dgm:t>
    </dgm:pt>
  </dgm:ptLst>
  <dgm:cxnLst>
    <dgm:cxn modelId="{C09FAD0B-84D8-423C-8867-02AA9CCCAEC1}" type="presOf" srcId="{C8F16073-C276-439A-ACD9-147EC6C284E2}" destId="{6EC256FC-9A38-4083-BFE1-F68DE52602FB}" srcOrd="0" destOrd="0" presId="urn:microsoft.com/office/officeart/2005/8/layout/process4"/>
    <dgm:cxn modelId="{8359846E-A7F3-4879-8366-EF07BCCC6312}" type="presOf" srcId="{7F3256DC-A91D-4B31-9C5B-2CFEEC1CCED2}" destId="{D35B36D8-340D-40DD-A69C-C3EB52E09957}" srcOrd="0" destOrd="0" presId="urn:microsoft.com/office/officeart/2005/8/layout/process4"/>
    <dgm:cxn modelId="{D1335D08-878C-4E55-A228-338786DEC1CF}" srcId="{7F3256DC-A91D-4B31-9C5B-2CFEEC1CCED2}" destId="{C8F16073-C276-439A-ACD9-147EC6C284E2}" srcOrd="0" destOrd="0" parTransId="{808784CB-1010-44F0-A98D-127A4EEF81B4}" sibTransId="{4E479A68-DA8B-4C5E-AFBB-E3F4273CA5B5}"/>
    <dgm:cxn modelId="{5390325E-9695-4007-BDC2-2E5D8A1492F1}" type="presParOf" srcId="{D35B36D8-340D-40DD-A69C-C3EB52E09957}" destId="{8B779753-26D9-4747-AEF8-ED4B15205702}" srcOrd="0" destOrd="0" presId="urn:microsoft.com/office/officeart/2005/8/layout/process4"/>
    <dgm:cxn modelId="{BCC6B362-294D-41F8-8D5B-F99F1FA837D2}" type="presParOf" srcId="{8B779753-26D9-4747-AEF8-ED4B15205702}" destId="{6EC256FC-9A38-4083-BFE1-F68DE52602FB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4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/>
      <dgm:spPr/>
      <dgm:t>
        <a:bodyPr/>
        <a:lstStyle/>
        <a:p>
          <a:pPr rtl="0"/>
          <a:r>
            <a:rPr lang="it-IT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D7A5AFCD-939F-40AE-85BA-499E0B51F64E}" type="presOf" srcId="{E4C7AF03-E2BD-4E48-8DAB-C1261D3D7EA9}" destId="{21D380AD-5D38-4835-9FB5-615E5454C686}" srcOrd="1" destOrd="0" presId="urn:microsoft.com/office/officeart/2005/8/layout/list1"/>
    <dgm:cxn modelId="{B7B27D30-11DF-4A8B-848E-82F1AEF7509A}" type="presOf" srcId="{188FD03C-7D6A-4D29-8FCB-9C1383057E36}" destId="{C08F212E-D010-4B1B-884C-243E8BB88BD2}" srcOrd="0" destOrd="0" presId="urn:microsoft.com/office/officeart/2005/8/layout/list1"/>
    <dgm:cxn modelId="{45607667-9085-4896-8438-427D745FD58B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48F52A25-DCE1-405B-8535-2A54298BF34C}" type="presParOf" srcId="{C08F212E-D010-4B1B-884C-243E8BB88BD2}" destId="{A042C0D5-6636-40E8-83EA-703099528EDB}" srcOrd="0" destOrd="0" presId="urn:microsoft.com/office/officeart/2005/8/layout/list1"/>
    <dgm:cxn modelId="{1CD44AE0-CD79-437C-AEB9-D474685E1787}" type="presParOf" srcId="{A042C0D5-6636-40E8-83EA-703099528EDB}" destId="{03DB856F-DE91-4CA0-AD05-B356DE21BFDC}" srcOrd="0" destOrd="0" presId="urn:microsoft.com/office/officeart/2005/8/layout/list1"/>
    <dgm:cxn modelId="{14DD5500-B356-4598-BD7C-E9B50A5A9985}" type="presParOf" srcId="{A042C0D5-6636-40E8-83EA-703099528EDB}" destId="{21D380AD-5D38-4835-9FB5-615E5454C686}" srcOrd="1" destOrd="0" presId="urn:microsoft.com/office/officeart/2005/8/layout/list1"/>
    <dgm:cxn modelId="{82B92ADA-9AC6-4E71-911F-C91594C0D20D}" type="presParOf" srcId="{C08F212E-D010-4B1B-884C-243E8BB88BD2}" destId="{E77B3B8A-36B6-4AF7-9D59-DF889FA8E07C}" srcOrd="1" destOrd="0" presId="urn:microsoft.com/office/officeart/2005/8/layout/list1"/>
    <dgm:cxn modelId="{46CBCCE0-4BD1-4EE5-BF95-452C3E8CB1DF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85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La posizione competitiva della Sicilia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203FC419-5F92-4A2E-9A9E-DB20E150D614}" type="presOf" srcId="{72D59079-C521-4525-81A4-701D931A8233}" destId="{9CE9EFE3-4E69-404A-8A99-59388A9E3922}" srcOrd="0" destOrd="0" presId="urn:microsoft.com/office/officeart/2005/8/layout/chevronAccent+Icon"/>
    <dgm:cxn modelId="{F19B8320-0D6F-4793-92C7-4758C61075C9}" type="presOf" srcId="{9AF403A6-2C5C-4F1B-B787-47496D3DBC71}" destId="{639FA514-32E4-4E31-8688-3C040A3F30E9}" srcOrd="0" destOrd="0" presId="urn:microsoft.com/office/officeart/2005/8/layout/chevronAccent+Icon"/>
    <dgm:cxn modelId="{F2F5DF2C-0B29-4BEF-8620-1A077BD36722}" type="presParOf" srcId="{639FA514-32E4-4E31-8688-3C040A3F30E9}" destId="{F100BA9B-D4E3-421F-B5D8-42E4C50A115C}" srcOrd="0" destOrd="0" presId="urn:microsoft.com/office/officeart/2005/8/layout/chevronAccent+Icon"/>
    <dgm:cxn modelId="{A7FED19A-3E79-46A9-B067-6AD20624B460}" type="presParOf" srcId="{F100BA9B-D4E3-421F-B5D8-42E4C50A115C}" destId="{51AD98A5-0898-43D1-8FB1-9AA58104A73C}" srcOrd="0" destOrd="0" presId="urn:microsoft.com/office/officeart/2005/8/layout/chevronAccent+Icon"/>
    <dgm:cxn modelId="{D5BE9B01-09CE-423A-B438-1A7A066C772C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86.xml><?xml version="1.0" encoding="utf-8"?>
<dgm:dataModel xmlns:dgm="http://schemas.openxmlformats.org/drawingml/2006/diagram" xmlns:a="http://schemas.openxmlformats.org/drawingml/2006/main">
  <dgm:ptLst>
    <dgm:pt modelId="{419F111E-40FB-4486-BA72-FAF55C9050C6}" type="doc">
      <dgm:prSet loTypeId="urn:microsoft.com/office/officeart/2005/8/layout/lProcess2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it-IT"/>
        </a:p>
      </dgm:t>
    </dgm:pt>
    <dgm:pt modelId="{B3B76759-FF36-4305-985B-67428D966BA1}">
      <dgm:prSet custT="1"/>
      <dgm:spPr/>
      <dgm:t>
        <a:bodyPr/>
        <a:lstStyle/>
        <a:p>
          <a:pPr algn="just" rtl="0"/>
          <a:r>
            <a:rPr lang="it-IT" sz="1800" dirty="0" smtClean="0"/>
            <a:t>In Sicilia vi sono alcuni elementi abilitanti, quali la presenza di fattori endogeni rivelanti e la presenza di competenze scientifiche tecnologiche sufficientemente sviluppate, seppur in assenza di un tessuto produttivo tradizionale ma ampio e consolidato. </a:t>
          </a:r>
          <a:endParaRPr lang="it-IT" sz="1800" b="1" i="1" dirty="0">
            <a:solidFill>
              <a:schemeClr val="bg2">
                <a:lumMod val="25000"/>
              </a:schemeClr>
            </a:solidFill>
          </a:endParaRPr>
        </a:p>
      </dgm:t>
    </dgm:pt>
    <dgm:pt modelId="{B25BB2C5-7746-4ECA-B133-221232537A0B}" type="parTrans" cxnId="{C9D87003-20D3-4942-9E9E-3B7C6758395C}">
      <dgm:prSet/>
      <dgm:spPr/>
      <dgm:t>
        <a:bodyPr/>
        <a:lstStyle/>
        <a:p>
          <a:endParaRPr lang="it-IT"/>
        </a:p>
      </dgm:t>
    </dgm:pt>
    <dgm:pt modelId="{B933D05E-06CE-4F7F-AA42-03D44AA84DF0}" type="sibTrans" cxnId="{C9D87003-20D3-4942-9E9E-3B7C6758395C}">
      <dgm:prSet/>
      <dgm:spPr/>
      <dgm:t>
        <a:bodyPr/>
        <a:lstStyle/>
        <a:p>
          <a:endParaRPr lang="it-IT"/>
        </a:p>
      </dgm:t>
    </dgm:pt>
    <dgm:pt modelId="{2BC7B398-0DE4-4BFF-8F6E-86FCAAF956D3}" type="pres">
      <dgm:prSet presAssocID="{419F111E-40FB-4486-BA72-FAF55C9050C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DA393C6-FC4B-4C3A-AD3A-95C4D9010EEE}" type="pres">
      <dgm:prSet presAssocID="{B3B76759-FF36-4305-985B-67428D966BA1}" presName="compNode" presStyleCnt="0"/>
      <dgm:spPr/>
    </dgm:pt>
    <dgm:pt modelId="{3F6FA827-A18D-4D12-975C-89F7224F3D1F}" type="pres">
      <dgm:prSet presAssocID="{B3B76759-FF36-4305-985B-67428D966BA1}" presName="aNode" presStyleLbl="bgShp" presStyleIdx="0" presStyleCnt="1"/>
      <dgm:spPr/>
      <dgm:t>
        <a:bodyPr/>
        <a:lstStyle/>
        <a:p>
          <a:endParaRPr lang="it-IT"/>
        </a:p>
      </dgm:t>
    </dgm:pt>
    <dgm:pt modelId="{8F076347-3464-4A7B-843C-B006B88D5129}" type="pres">
      <dgm:prSet presAssocID="{B3B76759-FF36-4305-985B-67428D966BA1}" presName="textNode" presStyleLbl="bgShp" presStyleIdx="0" presStyleCnt="1"/>
      <dgm:spPr/>
      <dgm:t>
        <a:bodyPr/>
        <a:lstStyle/>
        <a:p>
          <a:endParaRPr lang="it-IT"/>
        </a:p>
      </dgm:t>
    </dgm:pt>
    <dgm:pt modelId="{5A62CCEA-7F5D-4970-9D83-8EE4EDD098CC}" type="pres">
      <dgm:prSet presAssocID="{B3B76759-FF36-4305-985B-67428D966BA1}" presName="compChildNode" presStyleCnt="0"/>
      <dgm:spPr/>
    </dgm:pt>
    <dgm:pt modelId="{DFFB9DE9-C2B7-46B7-96CE-5D028BFADB5E}" type="pres">
      <dgm:prSet presAssocID="{B3B76759-FF36-4305-985B-67428D966BA1}" presName="theInnerList" presStyleCnt="0"/>
      <dgm:spPr/>
    </dgm:pt>
  </dgm:ptLst>
  <dgm:cxnLst>
    <dgm:cxn modelId="{BA7E9B7F-3406-4BE6-9403-93798544289B}" type="presOf" srcId="{B3B76759-FF36-4305-985B-67428D966BA1}" destId="{8F076347-3464-4A7B-843C-B006B88D5129}" srcOrd="1" destOrd="0" presId="urn:microsoft.com/office/officeart/2005/8/layout/lProcess2"/>
    <dgm:cxn modelId="{E978FCF7-0C34-45CF-B67F-C767FD9EE95F}" type="presOf" srcId="{419F111E-40FB-4486-BA72-FAF55C9050C6}" destId="{2BC7B398-0DE4-4BFF-8F6E-86FCAAF956D3}" srcOrd="0" destOrd="0" presId="urn:microsoft.com/office/officeart/2005/8/layout/lProcess2"/>
    <dgm:cxn modelId="{C9D87003-20D3-4942-9E9E-3B7C6758395C}" srcId="{419F111E-40FB-4486-BA72-FAF55C9050C6}" destId="{B3B76759-FF36-4305-985B-67428D966BA1}" srcOrd="0" destOrd="0" parTransId="{B25BB2C5-7746-4ECA-B133-221232537A0B}" sibTransId="{B933D05E-06CE-4F7F-AA42-03D44AA84DF0}"/>
    <dgm:cxn modelId="{FB91C6DC-3765-4551-A834-F000AE5A1927}" type="presOf" srcId="{B3B76759-FF36-4305-985B-67428D966BA1}" destId="{3F6FA827-A18D-4D12-975C-89F7224F3D1F}" srcOrd="0" destOrd="0" presId="urn:microsoft.com/office/officeart/2005/8/layout/lProcess2"/>
    <dgm:cxn modelId="{060BD1A7-554F-4D65-96B4-3D6B6560288C}" type="presParOf" srcId="{2BC7B398-0DE4-4BFF-8F6E-86FCAAF956D3}" destId="{FDA393C6-FC4B-4C3A-AD3A-95C4D9010EEE}" srcOrd="0" destOrd="0" presId="urn:microsoft.com/office/officeart/2005/8/layout/lProcess2"/>
    <dgm:cxn modelId="{623B4EFB-8EB9-4377-96BB-57780FFBE7FD}" type="presParOf" srcId="{FDA393C6-FC4B-4C3A-AD3A-95C4D9010EEE}" destId="{3F6FA827-A18D-4D12-975C-89F7224F3D1F}" srcOrd="0" destOrd="0" presId="urn:microsoft.com/office/officeart/2005/8/layout/lProcess2"/>
    <dgm:cxn modelId="{E57F921F-8D2C-4C47-97B4-A3A001810C65}" type="presParOf" srcId="{FDA393C6-FC4B-4C3A-AD3A-95C4D9010EEE}" destId="{8F076347-3464-4A7B-843C-B006B88D5129}" srcOrd="1" destOrd="0" presId="urn:microsoft.com/office/officeart/2005/8/layout/lProcess2"/>
    <dgm:cxn modelId="{4F7AAE22-BC0D-4EDF-B78D-3AE59C67A45C}" type="presParOf" srcId="{FDA393C6-FC4B-4C3A-AD3A-95C4D9010EEE}" destId="{5A62CCEA-7F5D-4970-9D83-8EE4EDD098CC}" srcOrd="2" destOrd="0" presId="urn:microsoft.com/office/officeart/2005/8/layout/lProcess2"/>
    <dgm:cxn modelId="{882138C6-998A-4BF9-AF73-92E282F2BCCE}" type="presParOf" srcId="{5A62CCEA-7F5D-4970-9D83-8EE4EDD098CC}" destId="{DFFB9DE9-C2B7-46B7-96CE-5D028BFADB5E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87.xml><?xml version="1.0" encoding="utf-8"?>
<dgm:dataModel xmlns:dgm="http://schemas.openxmlformats.org/drawingml/2006/diagram" xmlns:a="http://schemas.openxmlformats.org/drawingml/2006/main">
  <dgm:ptLst>
    <dgm:pt modelId="{C5C4CBA3-7D49-4126-9F75-BEAB0985683B}" type="doc">
      <dgm:prSet loTypeId="urn:microsoft.com/office/officeart/2005/8/layout/vList2" loCatId="list" qsTypeId="urn:microsoft.com/office/officeart/2005/8/quickstyle/simple1" qsCatId="simple" csTypeId="urn:microsoft.com/office/officeart/2005/8/colors/accent6_1" csCatId="accent6"/>
      <dgm:spPr/>
      <dgm:t>
        <a:bodyPr/>
        <a:lstStyle/>
        <a:p>
          <a:endParaRPr lang="it-IT"/>
        </a:p>
      </dgm:t>
    </dgm:pt>
    <dgm:pt modelId="{3DE9AE1C-7FFA-4447-902A-746B6851FB79}">
      <dgm:prSet/>
      <dgm:spPr/>
      <dgm:t>
        <a:bodyPr/>
        <a:lstStyle/>
        <a:p>
          <a:pPr rtl="0"/>
          <a:r>
            <a:rPr lang="it-IT" smtClean="0"/>
            <a:t>collocazione geografica e nell’ “abbondanza di materia prima” che contraddistingue la Sicilia</a:t>
          </a:r>
          <a:endParaRPr lang="it-IT"/>
        </a:p>
      </dgm:t>
    </dgm:pt>
    <dgm:pt modelId="{E7ED4E27-AAB6-4082-9E04-D91C8D36C30C}" type="parTrans" cxnId="{C4A3F5C5-49E0-4355-9CF1-E10C05F7682B}">
      <dgm:prSet/>
      <dgm:spPr/>
      <dgm:t>
        <a:bodyPr/>
        <a:lstStyle/>
        <a:p>
          <a:endParaRPr lang="it-IT"/>
        </a:p>
      </dgm:t>
    </dgm:pt>
    <dgm:pt modelId="{92D5A508-C64B-4057-AA37-46A823FC104F}" type="sibTrans" cxnId="{C4A3F5C5-49E0-4355-9CF1-E10C05F7682B}">
      <dgm:prSet/>
      <dgm:spPr/>
      <dgm:t>
        <a:bodyPr/>
        <a:lstStyle/>
        <a:p>
          <a:endParaRPr lang="it-IT"/>
        </a:p>
      </dgm:t>
    </dgm:pt>
    <dgm:pt modelId="{19B3A6BF-CC67-4A7A-ADD0-9B6F39971A36}">
      <dgm:prSet/>
      <dgm:spPr/>
      <dgm:t>
        <a:bodyPr/>
        <a:lstStyle/>
        <a:p>
          <a:pPr rtl="0"/>
          <a:r>
            <a:rPr lang="it-IT" smtClean="0"/>
            <a:t>presenza di più distretti tecnologici a vario titolo interessati a entrambi questi ambiti  </a:t>
          </a:r>
          <a:endParaRPr lang="it-IT"/>
        </a:p>
      </dgm:t>
    </dgm:pt>
    <dgm:pt modelId="{483DA689-A285-4D2F-9545-CA5756C2DFC2}" type="parTrans" cxnId="{9EDFD479-0F39-4BD7-AC5C-7A9FD6229E94}">
      <dgm:prSet/>
      <dgm:spPr/>
      <dgm:t>
        <a:bodyPr/>
        <a:lstStyle/>
        <a:p>
          <a:endParaRPr lang="it-IT"/>
        </a:p>
      </dgm:t>
    </dgm:pt>
    <dgm:pt modelId="{4AC174A2-0760-4455-9487-D67C589B01D0}" type="sibTrans" cxnId="{9EDFD479-0F39-4BD7-AC5C-7A9FD6229E94}">
      <dgm:prSet/>
      <dgm:spPr/>
      <dgm:t>
        <a:bodyPr/>
        <a:lstStyle/>
        <a:p>
          <a:endParaRPr lang="it-IT"/>
        </a:p>
      </dgm:t>
    </dgm:pt>
    <dgm:pt modelId="{D4E45526-A581-478B-A70D-AC4F9B71A47B}">
      <dgm:prSet/>
      <dgm:spPr/>
      <dgm:t>
        <a:bodyPr/>
        <a:lstStyle/>
        <a:p>
          <a:pPr rtl="0"/>
          <a:r>
            <a:rPr lang="it-IT" smtClean="0"/>
            <a:t>presenza di un tessuto produttivo, già in riconversione o con esigenze di riconversione/differenziazioni evidenti, che vanta competenze prontamente spendibili.  </a:t>
          </a:r>
          <a:endParaRPr lang="it-IT"/>
        </a:p>
      </dgm:t>
    </dgm:pt>
    <dgm:pt modelId="{E87961D0-8BC2-4310-B266-2D059F4FD319}" type="parTrans" cxnId="{E56A0D4F-F559-4D41-8A2E-47DF4BFDECF5}">
      <dgm:prSet/>
      <dgm:spPr/>
      <dgm:t>
        <a:bodyPr/>
        <a:lstStyle/>
        <a:p>
          <a:endParaRPr lang="it-IT"/>
        </a:p>
      </dgm:t>
    </dgm:pt>
    <dgm:pt modelId="{7A400048-B7E5-48FD-BC9A-300C91EEE970}" type="sibTrans" cxnId="{E56A0D4F-F559-4D41-8A2E-47DF4BFDECF5}">
      <dgm:prSet/>
      <dgm:spPr/>
      <dgm:t>
        <a:bodyPr/>
        <a:lstStyle/>
        <a:p>
          <a:endParaRPr lang="it-IT"/>
        </a:p>
      </dgm:t>
    </dgm:pt>
    <dgm:pt modelId="{4312DEFC-C7FA-4604-B8D1-CEA6E4016A1A}" type="pres">
      <dgm:prSet presAssocID="{C5C4CBA3-7D49-4126-9F75-BEAB0985683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0008EE95-ED0B-4F42-B9BB-F97379F4DC07}" type="pres">
      <dgm:prSet presAssocID="{3DE9AE1C-7FFA-4447-902A-746B6851FB79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635E232-C5D5-4FC0-A51C-D82475A93233}" type="pres">
      <dgm:prSet presAssocID="{92D5A508-C64B-4057-AA37-46A823FC104F}" presName="spacer" presStyleCnt="0"/>
      <dgm:spPr/>
    </dgm:pt>
    <dgm:pt modelId="{662E9A99-0599-479A-86DF-FDCDE7D434EA}" type="pres">
      <dgm:prSet presAssocID="{19B3A6BF-CC67-4A7A-ADD0-9B6F39971A36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5F75567-CAD3-4E21-9409-7F1970D09823}" type="pres">
      <dgm:prSet presAssocID="{4AC174A2-0760-4455-9487-D67C589B01D0}" presName="spacer" presStyleCnt="0"/>
      <dgm:spPr/>
    </dgm:pt>
    <dgm:pt modelId="{F07A23B6-2A48-4DB0-BF5F-D9ECA7DC8F36}" type="pres">
      <dgm:prSet presAssocID="{D4E45526-A581-478B-A70D-AC4F9B71A47B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982FF10C-0692-4CDF-BCC7-610DA1D2BBCA}" type="presOf" srcId="{C5C4CBA3-7D49-4126-9F75-BEAB0985683B}" destId="{4312DEFC-C7FA-4604-B8D1-CEA6E4016A1A}" srcOrd="0" destOrd="0" presId="urn:microsoft.com/office/officeart/2005/8/layout/vList2"/>
    <dgm:cxn modelId="{C4A3F5C5-49E0-4355-9CF1-E10C05F7682B}" srcId="{C5C4CBA3-7D49-4126-9F75-BEAB0985683B}" destId="{3DE9AE1C-7FFA-4447-902A-746B6851FB79}" srcOrd="0" destOrd="0" parTransId="{E7ED4E27-AAB6-4082-9E04-D91C8D36C30C}" sibTransId="{92D5A508-C64B-4057-AA37-46A823FC104F}"/>
    <dgm:cxn modelId="{236FCBBF-1088-452A-B939-7D0DD8D22BFD}" type="presOf" srcId="{19B3A6BF-CC67-4A7A-ADD0-9B6F39971A36}" destId="{662E9A99-0599-479A-86DF-FDCDE7D434EA}" srcOrd="0" destOrd="0" presId="urn:microsoft.com/office/officeart/2005/8/layout/vList2"/>
    <dgm:cxn modelId="{EB6B3F3A-C7FC-4B98-83B2-50111202E76D}" type="presOf" srcId="{3DE9AE1C-7FFA-4447-902A-746B6851FB79}" destId="{0008EE95-ED0B-4F42-B9BB-F97379F4DC07}" srcOrd="0" destOrd="0" presId="urn:microsoft.com/office/officeart/2005/8/layout/vList2"/>
    <dgm:cxn modelId="{E56A0D4F-F559-4D41-8A2E-47DF4BFDECF5}" srcId="{C5C4CBA3-7D49-4126-9F75-BEAB0985683B}" destId="{D4E45526-A581-478B-A70D-AC4F9B71A47B}" srcOrd="2" destOrd="0" parTransId="{E87961D0-8BC2-4310-B266-2D059F4FD319}" sibTransId="{7A400048-B7E5-48FD-BC9A-300C91EEE970}"/>
    <dgm:cxn modelId="{9EDFD479-0F39-4BD7-AC5C-7A9FD6229E94}" srcId="{C5C4CBA3-7D49-4126-9F75-BEAB0985683B}" destId="{19B3A6BF-CC67-4A7A-ADD0-9B6F39971A36}" srcOrd="1" destOrd="0" parTransId="{483DA689-A285-4D2F-9545-CA5756C2DFC2}" sibTransId="{4AC174A2-0760-4455-9487-D67C589B01D0}"/>
    <dgm:cxn modelId="{3E5CA1DC-D4B1-4F52-B366-F475511E7AF2}" type="presOf" srcId="{D4E45526-A581-478B-A70D-AC4F9B71A47B}" destId="{F07A23B6-2A48-4DB0-BF5F-D9ECA7DC8F36}" srcOrd="0" destOrd="0" presId="urn:microsoft.com/office/officeart/2005/8/layout/vList2"/>
    <dgm:cxn modelId="{70AF2918-EBDD-4332-AA22-DB219B4007A9}" type="presParOf" srcId="{4312DEFC-C7FA-4604-B8D1-CEA6E4016A1A}" destId="{0008EE95-ED0B-4F42-B9BB-F97379F4DC07}" srcOrd="0" destOrd="0" presId="urn:microsoft.com/office/officeart/2005/8/layout/vList2"/>
    <dgm:cxn modelId="{8FEDE381-64D0-494A-98CD-BBAB2A72EAC0}" type="presParOf" srcId="{4312DEFC-C7FA-4604-B8D1-CEA6E4016A1A}" destId="{3635E232-C5D5-4FC0-A51C-D82475A93233}" srcOrd="1" destOrd="0" presId="urn:microsoft.com/office/officeart/2005/8/layout/vList2"/>
    <dgm:cxn modelId="{BAA13B80-8DFB-4AB3-9D07-19E7C8683C5F}" type="presParOf" srcId="{4312DEFC-C7FA-4604-B8D1-CEA6E4016A1A}" destId="{662E9A99-0599-479A-86DF-FDCDE7D434EA}" srcOrd="2" destOrd="0" presId="urn:microsoft.com/office/officeart/2005/8/layout/vList2"/>
    <dgm:cxn modelId="{6945A02E-839F-4DD7-AE48-34D32D483E4D}" type="presParOf" srcId="{4312DEFC-C7FA-4604-B8D1-CEA6E4016A1A}" destId="{55F75567-CAD3-4E21-9409-7F1970D09823}" srcOrd="3" destOrd="0" presId="urn:microsoft.com/office/officeart/2005/8/layout/vList2"/>
    <dgm:cxn modelId="{87B27D32-60A5-4F3F-A031-6E92528D21CF}" type="presParOf" srcId="{4312DEFC-C7FA-4604-B8D1-CEA6E4016A1A}" destId="{F07A23B6-2A48-4DB0-BF5F-D9ECA7DC8F36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26" minVer="http://schemas.openxmlformats.org/drawingml/2006/diagram"/>
    </a:ext>
  </dgm:extLst>
</dgm:dataModel>
</file>

<file path=ppt/diagrams/data88.xml><?xml version="1.0" encoding="utf-8"?>
<dgm:dataModel xmlns:dgm="http://schemas.openxmlformats.org/drawingml/2006/diagram" xmlns:a="http://schemas.openxmlformats.org/drawingml/2006/main">
  <dgm:ptLst>
    <dgm:pt modelId="{496881F8-8316-448C-A9F1-1038E80718AA}" type="doc">
      <dgm:prSet loTypeId="urn:microsoft.com/office/officeart/2005/8/layout/vList2" loCatId="list" qsTypeId="urn:microsoft.com/office/officeart/2005/8/quickstyle/simple1" qsCatId="simple" csTypeId="urn:microsoft.com/office/officeart/2005/8/colors/accent6_2" csCatId="accent6"/>
      <dgm:spPr/>
      <dgm:t>
        <a:bodyPr/>
        <a:lstStyle/>
        <a:p>
          <a:endParaRPr lang="it-IT"/>
        </a:p>
      </dgm:t>
    </dgm:pt>
    <dgm:pt modelId="{6B88F0D8-B7F2-45C9-8657-D2411855393D}">
      <dgm:prSet/>
      <dgm:spPr/>
      <dgm:t>
        <a:bodyPr/>
        <a:lstStyle/>
        <a:p>
          <a:pPr rtl="0"/>
          <a:r>
            <a:rPr lang="it-IT" smtClean="0"/>
            <a:t>Punti di Forza</a:t>
          </a:r>
          <a:endParaRPr lang="it-IT"/>
        </a:p>
      </dgm:t>
    </dgm:pt>
    <dgm:pt modelId="{C42B00D8-74B0-4D14-842D-CACA6BD6DE40}" type="parTrans" cxnId="{F1033B4F-EACB-484E-97E2-7B54C990C49B}">
      <dgm:prSet/>
      <dgm:spPr/>
      <dgm:t>
        <a:bodyPr/>
        <a:lstStyle/>
        <a:p>
          <a:endParaRPr lang="it-IT"/>
        </a:p>
      </dgm:t>
    </dgm:pt>
    <dgm:pt modelId="{6D1F0711-51E7-4B70-AE73-30D212187FA6}" type="sibTrans" cxnId="{F1033B4F-EACB-484E-97E2-7B54C990C49B}">
      <dgm:prSet/>
      <dgm:spPr/>
      <dgm:t>
        <a:bodyPr/>
        <a:lstStyle/>
        <a:p>
          <a:endParaRPr lang="it-IT"/>
        </a:p>
      </dgm:t>
    </dgm:pt>
    <dgm:pt modelId="{05A925EB-534A-4256-95DA-D7E0FBB6EA84}" type="pres">
      <dgm:prSet presAssocID="{496881F8-8316-448C-A9F1-1038E80718A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84F2652-3056-4EA1-8E34-D89C3FD6DE63}" type="pres">
      <dgm:prSet presAssocID="{6B88F0D8-B7F2-45C9-8657-D2411855393D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F1033B4F-EACB-484E-97E2-7B54C990C49B}" srcId="{496881F8-8316-448C-A9F1-1038E80718AA}" destId="{6B88F0D8-B7F2-45C9-8657-D2411855393D}" srcOrd="0" destOrd="0" parTransId="{C42B00D8-74B0-4D14-842D-CACA6BD6DE40}" sibTransId="{6D1F0711-51E7-4B70-AE73-30D212187FA6}"/>
    <dgm:cxn modelId="{7925C47A-8EB7-440E-AA73-22C122E67CEE}" type="presOf" srcId="{496881F8-8316-448C-A9F1-1038E80718AA}" destId="{05A925EB-534A-4256-95DA-D7E0FBB6EA84}" srcOrd="0" destOrd="0" presId="urn:microsoft.com/office/officeart/2005/8/layout/vList2"/>
    <dgm:cxn modelId="{4F44C80B-8940-48FB-9091-5BFAFC87789D}" type="presOf" srcId="{6B88F0D8-B7F2-45C9-8657-D2411855393D}" destId="{B84F2652-3056-4EA1-8E34-D89C3FD6DE63}" srcOrd="0" destOrd="0" presId="urn:microsoft.com/office/officeart/2005/8/layout/vList2"/>
    <dgm:cxn modelId="{AB74370C-C364-4E2E-A27D-1F207FACB582}" type="presParOf" srcId="{05A925EB-534A-4256-95DA-D7E0FBB6EA84}" destId="{B84F2652-3056-4EA1-8E34-D89C3FD6DE6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31" minVer="http://schemas.openxmlformats.org/drawingml/2006/diagram"/>
    </a:ext>
  </dgm:extLst>
</dgm:dataModel>
</file>

<file path=ppt/diagrams/data89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4078C7C4-4C0D-49F2-B757-A375EC5FCA0E}" type="presOf" srcId="{E4C7AF03-E2BD-4E48-8DAB-C1261D3D7EA9}" destId="{21D380AD-5D38-4835-9FB5-615E5454C686}" srcOrd="1" destOrd="0" presId="urn:microsoft.com/office/officeart/2005/8/layout/list1"/>
    <dgm:cxn modelId="{E26A9161-0201-48FA-832D-CEC25BE34408}" type="presOf" srcId="{188FD03C-7D6A-4D29-8FCB-9C1383057E36}" destId="{C08F212E-D010-4B1B-884C-243E8BB88BD2}" srcOrd="0" destOrd="0" presId="urn:microsoft.com/office/officeart/2005/8/layout/list1"/>
    <dgm:cxn modelId="{E37DF970-7534-4548-A141-1E9E5CC3AC3D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5FA8B324-C8A0-43B0-BC31-E3A9B657F58D}" type="presParOf" srcId="{C08F212E-D010-4B1B-884C-243E8BB88BD2}" destId="{A042C0D5-6636-40E8-83EA-703099528EDB}" srcOrd="0" destOrd="0" presId="urn:microsoft.com/office/officeart/2005/8/layout/list1"/>
    <dgm:cxn modelId="{34C62962-138F-4DB3-955C-7FEE12912442}" type="presParOf" srcId="{A042C0D5-6636-40E8-83EA-703099528EDB}" destId="{03DB856F-DE91-4CA0-AD05-B356DE21BFDC}" srcOrd="0" destOrd="0" presId="urn:microsoft.com/office/officeart/2005/8/layout/list1"/>
    <dgm:cxn modelId="{B080CF6B-7F66-4B6D-8EF1-3FC960A5CAB8}" type="presParOf" srcId="{A042C0D5-6636-40E8-83EA-703099528EDB}" destId="{21D380AD-5D38-4835-9FB5-615E5454C686}" srcOrd="1" destOrd="0" presId="urn:microsoft.com/office/officeart/2005/8/layout/list1"/>
    <dgm:cxn modelId="{E0845183-1C1F-4854-8D68-0676DF12DBD7}" type="presParOf" srcId="{C08F212E-D010-4B1B-884C-243E8BB88BD2}" destId="{E77B3B8A-36B6-4AF7-9D59-DF889FA8E07C}" srcOrd="1" destOrd="0" presId="urn:microsoft.com/office/officeart/2005/8/layout/list1"/>
    <dgm:cxn modelId="{26DA831F-94C4-42CF-884B-474E408543B5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614299B-2072-44D6-A8AE-2578D07D4A7F}" type="doc">
      <dgm:prSet loTypeId="urn:microsoft.com/office/officeart/2005/8/layout/cycle8" loCatId="cycle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5A4119CE-9133-4521-82CC-5CDF3CB50322}">
      <dgm:prSet phldrT="[Testo]"/>
      <dgm:spPr/>
      <dgm:t>
        <a:bodyPr/>
        <a:lstStyle/>
        <a:p>
          <a:r>
            <a:rPr lang="it-IT" dirty="0" smtClean="0"/>
            <a:t>Avvio</a:t>
          </a:r>
          <a:endParaRPr lang="it-IT" dirty="0"/>
        </a:p>
      </dgm:t>
    </dgm:pt>
    <dgm:pt modelId="{1AD96800-53D1-42FA-8BB9-CB8EA57457DA}" type="parTrans" cxnId="{2BFF39B4-673E-415C-BEDA-13B11218ED14}">
      <dgm:prSet/>
      <dgm:spPr/>
      <dgm:t>
        <a:bodyPr/>
        <a:lstStyle/>
        <a:p>
          <a:endParaRPr lang="it-IT"/>
        </a:p>
      </dgm:t>
    </dgm:pt>
    <dgm:pt modelId="{414911D7-F683-448B-BAFC-973B6F7BAE8C}" type="sibTrans" cxnId="{2BFF39B4-673E-415C-BEDA-13B11218ED14}">
      <dgm:prSet/>
      <dgm:spPr/>
      <dgm:t>
        <a:bodyPr/>
        <a:lstStyle/>
        <a:p>
          <a:endParaRPr lang="it-IT"/>
        </a:p>
      </dgm:t>
    </dgm:pt>
    <dgm:pt modelId="{A38EE3BB-1857-4162-BD97-E4F09BD3E9D5}">
      <dgm:prSet phldrT="[Testo]"/>
      <dgm:spPr/>
      <dgm:t>
        <a:bodyPr/>
        <a:lstStyle/>
        <a:p>
          <a:r>
            <a:rPr lang="it-IT" dirty="0" smtClean="0"/>
            <a:t>Elaborazione ed invio contributi</a:t>
          </a:r>
          <a:endParaRPr lang="it-IT" dirty="0"/>
        </a:p>
      </dgm:t>
    </dgm:pt>
    <dgm:pt modelId="{960ED48D-7B66-4707-B779-3BEA4CE1F7D8}" type="parTrans" cxnId="{E5CD6CE0-EBAD-43B4-9A20-8F674AA6C3DC}">
      <dgm:prSet/>
      <dgm:spPr/>
      <dgm:t>
        <a:bodyPr/>
        <a:lstStyle/>
        <a:p>
          <a:endParaRPr lang="it-IT"/>
        </a:p>
      </dgm:t>
    </dgm:pt>
    <dgm:pt modelId="{CE7B6273-0C49-4549-9983-578881C51358}" type="sibTrans" cxnId="{E5CD6CE0-EBAD-43B4-9A20-8F674AA6C3DC}">
      <dgm:prSet/>
      <dgm:spPr/>
      <dgm:t>
        <a:bodyPr/>
        <a:lstStyle/>
        <a:p>
          <a:endParaRPr lang="it-IT"/>
        </a:p>
      </dgm:t>
    </dgm:pt>
    <dgm:pt modelId="{8129AC6B-B953-4C5D-96AC-DB9331523478}">
      <dgm:prSet phldrT="[Testo]"/>
      <dgm:spPr/>
      <dgm:t>
        <a:bodyPr/>
        <a:lstStyle/>
        <a:p>
          <a:r>
            <a:rPr lang="it-IT" dirty="0" smtClean="0"/>
            <a:t>Raccolta e sistematizzazione contributi</a:t>
          </a:r>
          <a:endParaRPr lang="it-IT" dirty="0"/>
        </a:p>
      </dgm:t>
    </dgm:pt>
    <dgm:pt modelId="{FB89B788-C656-4FB1-938D-A527B2F1AC8D}" type="parTrans" cxnId="{7245D303-6344-451B-A6A1-E18A65A092FE}">
      <dgm:prSet/>
      <dgm:spPr/>
      <dgm:t>
        <a:bodyPr/>
        <a:lstStyle/>
        <a:p>
          <a:endParaRPr lang="it-IT"/>
        </a:p>
      </dgm:t>
    </dgm:pt>
    <dgm:pt modelId="{4AD9F207-EEF0-4CB8-9D87-6E9A4CF0E676}" type="sibTrans" cxnId="{7245D303-6344-451B-A6A1-E18A65A092FE}">
      <dgm:prSet/>
      <dgm:spPr/>
      <dgm:t>
        <a:bodyPr/>
        <a:lstStyle/>
        <a:p>
          <a:endParaRPr lang="it-IT"/>
        </a:p>
      </dgm:t>
    </dgm:pt>
    <dgm:pt modelId="{D8ECAAE4-BB06-4247-BFF9-DE9C767B500B}">
      <dgm:prSet phldrT="[Testo]"/>
      <dgm:spPr/>
      <dgm:t>
        <a:bodyPr/>
        <a:lstStyle/>
        <a:p>
          <a:r>
            <a:rPr lang="it-IT" dirty="0" smtClean="0"/>
            <a:t>Restituzione e condivisione</a:t>
          </a:r>
          <a:endParaRPr lang="it-IT" dirty="0"/>
        </a:p>
      </dgm:t>
    </dgm:pt>
    <dgm:pt modelId="{EE7AFA6A-9065-4FEC-BC19-2F72BA31E000}" type="parTrans" cxnId="{7DE1D404-EEC6-4E91-A3B2-4D6973BE88A1}">
      <dgm:prSet/>
      <dgm:spPr/>
      <dgm:t>
        <a:bodyPr/>
        <a:lstStyle/>
        <a:p>
          <a:endParaRPr lang="it-IT"/>
        </a:p>
      </dgm:t>
    </dgm:pt>
    <dgm:pt modelId="{82EF2C73-0944-4DE5-9C97-BBD2A70FBC63}" type="sibTrans" cxnId="{7DE1D404-EEC6-4E91-A3B2-4D6973BE88A1}">
      <dgm:prSet/>
      <dgm:spPr/>
      <dgm:t>
        <a:bodyPr/>
        <a:lstStyle/>
        <a:p>
          <a:endParaRPr lang="it-IT"/>
        </a:p>
      </dgm:t>
    </dgm:pt>
    <dgm:pt modelId="{9B2DF850-6F39-4C7B-8F9C-4FB9B6127052}" type="pres">
      <dgm:prSet presAssocID="{C614299B-2072-44D6-A8AE-2578D07D4A7F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B21CCAE3-4E5B-4AD4-98CF-C84CFD4B2B61}" type="pres">
      <dgm:prSet presAssocID="{C614299B-2072-44D6-A8AE-2578D07D4A7F}" presName="wedge1" presStyleLbl="node1" presStyleIdx="0" presStyleCnt="4"/>
      <dgm:spPr/>
      <dgm:t>
        <a:bodyPr/>
        <a:lstStyle/>
        <a:p>
          <a:endParaRPr lang="it-IT"/>
        </a:p>
      </dgm:t>
    </dgm:pt>
    <dgm:pt modelId="{C4E6D097-CC03-48D3-857D-DC2A4EA423B4}" type="pres">
      <dgm:prSet presAssocID="{C614299B-2072-44D6-A8AE-2578D07D4A7F}" presName="dummy1a" presStyleCnt="0"/>
      <dgm:spPr/>
    </dgm:pt>
    <dgm:pt modelId="{C40D7312-AB5A-4228-9936-8EA64F9B4BFD}" type="pres">
      <dgm:prSet presAssocID="{C614299B-2072-44D6-A8AE-2578D07D4A7F}" presName="dummy1b" presStyleCnt="0"/>
      <dgm:spPr/>
    </dgm:pt>
    <dgm:pt modelId="{BED3001F-674E-470B-8B2C-07271289107A}" type="pres">
      <dgm:prSet presAssocID="{C614299B-2072-44D6-A8AE-2578D07D4A7F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0F6EC78-48FE-4338-9470-51C5945E4C5A}" type="pres">
      <dgm:prSet presAssocID="{C614299B-2072-44D6-A8AE-2578D07D4A7F}" presName="wedge2" presStyleLbl="node1" presStyleIdx="1" presStyleCnt="4"/>
      <dgm:spPr/>
      <dgm:t>
        <a:bodyPr/>
        <a:lstStyle/>
        <a:p>
          <a:endParaRPr lang="it-IT"/>
        </a:p>
      </dgm:t>
    </dgm:pt>
    <dgm:pt modelId="{FE710D49-71F8-4120-B031-08BEE462CD9D}" type="pres">
      <dgm:prSet presAssocID="{C614299B-2072-44D6-A8AE-2578D07D4A7F}" presName="dummy2a" presStyleCnt="0"/>
      <dgm:spPr/>
    </dgm:pt>
    <dgm:pt modelId="{5B7D1FFF-ED52-4A71-A480-94D2B8A2FE6C}" type="pres">
      <dgm:prSet presAssocID="{C614299B-2072-44D6-A8AE-2578D07D4A7F}" presName="dummy2b" presStyleCnt="0"/>
      <dgm:spPr/>
    </dgm:pt>
    <dgm:pt modelId="{8F5469E7-585B-41BF-B0B9-432DEE54B9D7}" type="pres">
      <dgm:prSet presAssocID="{C614299B-2072-44D6-A8AE-2578D07D4A7F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6474684D-7762-4CD1-A3B4-D72EED99A80F}" type="pres">
      <dgm:prSet presAssocID="{C614299B-2072-44D6-A8AE-2578D07D4A7F}" presName="wedge3" presStyleLbl="node1" presStyleIdx="2" presStyleCnt="4"/>
      <dgm:spPr/>
      <dgm:t>
        <a:bodyPr/>
        <a:lstStyle/>
        <a:p>
          <a:endParaRPr lang="it-IT"/>
        </a:p>
      </dgm:t>
    </dgm:pt>
    <dgm:pt modelId="{C95F34F1-DD72-4853-B47C-7B5756226F78}" type="pres">
      <dgm:prSet presAssocID="{C614299B-2072-44D6-A8AE-2578D07D4A7F}" presName="dummy3a" presStyleCnt="0"/>
      <dgm:spPr/>
    </dgm:pt>
    <dgm:pt modelId="{C5216591-466C-44C9-89A5-685B16ABD408}" type="pres">
      <dgm:prSet presAssocID="{C614299B-2072-44D6-A8AE-2578D07D4A7F}" presName="dummy3b" presStyleCnt="0"/>
      <dgm:spPr/>
    </dgm:pt>
    <dgm:pt modelId="{C15382B8-6863-47C3-BF10-11F61B0D5D87}" type="pres">
      <dgm:prSet presAssocID="{C614299B-2072-44D6-A8AE-2578D07D4A7F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D97BB5-9B57-47E0-A5C0-4486B247297F}" type="pres">
      <dgm:prSet presAssocID="{C614299B-2072-44D6-A8AE-2578D07D4A7F}" presName="wedge4" presStyleLbl="node1" presStyleIdx="3" presStyleCnt="4"/>
      <dgm:spPr/>
      <dgm:t>
        <a:bodyPr/>
        <a:lstStyle/>
        <a:p>
          <a:endParaRPr lang="it-IT"/>
        </a:p>
      </dgm:t>
    </dgm:pt>
    <dgm:pt modelId="{89660C4E-0CFD-40FC-BBED-805D1F489E1A}" type="pres">
      <dgm:prSet presAssocID="{C614299B-2072-44D6-A8AE-2578D07D4A7F}" presName="dummy4a" presStyleCnt="0"/>
      <dgm:spPr/>
    </dgm:pt>
    <dgm:pt modelId="{3757EB00-7E33-495C-9253-257317882ECE}" type="pres">
      <dgm:prSet presAssocID="{C614299B-2072-44D6-A8AE-2578D07D4A7F}" presName="dummy4b" presStyleCnt="0"/>
      <dgm:spPr/>
    </dgm:pt>
    <dgm:pt modelId="{55D7C5ED-B24F-4D70-AEDF-14ECE132D3E5}" type="pres">
      <dgm:prSet presAssocID="{C614299B-2072-44D6-A8AE-2578D07D4A7F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CC2729F-211C-496E-9C98-DF70F4BFF7C1}" type="pres">
      <dgm:prSet presAssocID="{414911D7-F683-448B-BAFC-973B6F7BAE8C}" presName="arrowWedge1" presStyleLbl="fgSibTrans2D1" presStyleIdx="0" presStyleCnt="4"/>
      <dgm:spPr/>
    </dgm:pt>
    <dgm:pt modelId="{6E92B4D0-B766-4BEF-AE06-9F28B81EEEE6}" type="pres">
      <dgm:prSet presAssocID="{CE7B6273-0C49-4549-9983-578881C51358}" presName="arrowWedge2" presStyleLbl="fgSibTrans2D1" presStyleIdx="1" presStyleCnt="4"/>
      <dgm:spPr/>
    </dgm:pt>
    <dgm:pt modelId="{2C8C345A-097E-4D75-B389-7699A21EF75E}" type="pres">
      <dgm:prSet presAssocID="{4AD9F207-EEF0-4CB8-9D87-6E9A4CF0E676}" presName="arrowWedge3" presStyleLbl="fgSibTrans2D1" presStyleIdx="2" presStyleCnt="4" custLinFactNeighborX="-123" custLinFactNeighborY="1171"/>
      <dgm:spPr/>
    </dgm:pt>
    <dgm:pt modelId="{A214AC69-442E-4B0A-9DD7-23F3962569FF}" type="pres">
      <dgm:prSet presAssocID="{82EF2C73-0944-4DE5-9C97-BBD2A70FBC63}" presName="arrowWedge4" presStyleLbl="fgSibTrans2D1" presStyleIdx="3" presStyleCnt="4"/>
      <dgm:spPr/>
    </dgm:pt>
  </dgm:ptLst>
  <dgm:cxnLst>
    <dgm:cxn modelId="{465D4CC9-1EF1-4C91-A55A-3517FA75634A}" type="presOf" srcId="{D8ECAAE4-BB06-4247-BFF9-DE9C767B500B}" destId="{55D7C5ED-B24F-4D70-AEDF-14ECE132D3E5}" srcOrd="1" destOrd="0" presId="urn:microsoft.com/office/officeart/2005/8/layout/cycle8"/>
    <dgm:cxn modelId="{D615B474-C893-4DB6-ADED-A10586C07E68}" type="presOf" srcId="{D8ECAAE4-BB06-4247-BFF9-DE9C767B500B}" destId="{2CD97BB5-9B57-47E0-A5C0-4486B247297F}" srcOrd="0" destOrd="0" presId="urn:microsoft.com/office/officeart/2005/8/layout/cycle8"/>
    <dgm:cxn modelId="{21C43A81-AC60-4165-B56E-4376656D357A}" type="presOf" srcId="{5A4119CE-9133-4521-82CC-5CDF3CB50322}" destId="{B21CCAE3-4E5B-4AD4-98CF-C84CFD4B2B61}" srcOrd="0" destOrd="0" presId="urn:microsoft.com/office/officeart/2005/8/layout/cycle8"/>
    <dgm:cxn modelId="{0778C027-0164-4D7D-B124-385C5F195821}" type="presOf" srcId="{8129AC6B-B953-4C5D-96AC-DB9331523478}" destId="{C15382B8-6863-47C3-BF10-11F61B0D5D87}" srcOrd="1" destOrd="0" presId="urn:microsoft.com/office/officeart/2005/8/layout/cycle8"/>
    <dgm:cxn modelId="{E5CD6CE0-EBAD-43B4-9A20-8F674AA6C3DC}" srcId="{C614299B-2072-44D6-A8AE-2578D07D4A7F}" destId="{A38EE3BB-1857-4162-BD97-E4F09BD3E9D5}" srcOrd="1" destOrd="0" parTransId="{960ED48D-7B66-4707-B779-3BEA4CE1F7D8}" sibTransId="{CE7B6273-0C49-4549-9983-578881C51358}"/>
    <dgm:cxn modelId="{C3DCCD73-C2FB-4724-9EB9-1EA07084FAC6}" type="presOf" srcId="{A38EE3BB-1857-4162-BD97-E4F09BD3E9D5}" destId="{8F5469E7-585B-41BF-B0B9-432DEE54B9D7}" srcOrd="1" destOrd="0" presId="urn:microsoft.com/office/officeart/2005/8/layout/cycle8"/>
    <dgm:cxn modelId="{46E10D8A-37EA-40E2-A304-BD6E5B5933AC}" type="presOf" srcId="{C614299B-2072-44D6-A8AE-2578D07D4A7F}" destId="{9B2DF850-6F39-4C7B-8F9C-4FB9B6127052}" srcOrd="0" destOrd="0" presId="urn:microsoft.com/office/officeart/2005/8/layout/cycle8"/>
    <dgm:cxn modelId="{B251A67A-DAB1-4099-ACD5-AB07D02930A4}" type="presOf" srcId="{A38EE3BB-1857-4162-BD97-E4F09BD3E9D5}" destId="{F0F6EC78-48FE-4338-9470-51C5945E4C5A}" srcOrd="0" destOrd="0" presId="urn:microsoft.com/office/officeart/2005/8/layout/cycle8"/>
    <dgm:cxn modelId="{837C22C5-12DE-4F9D-899C-935EC5F8F07F}" type="presOf" srcId="{5A4119CE-9133-4521-82CC-5CDF3CB50322}" destId="{BED3001F-674E-470B-8B2C-07271289107A}" srcOrd="1" destOrd="0" presId="urn:microsoft.com/office/officeart/2005/8/layout/cycle8"/>
    <dgm:cxn modelId="{7DE1D404-EEC6-4E91-A3B2-4D6973BE88A1}" srcId="{C614299B-2072-44D6-A8AE-2578D07D4A7F}" destId="{D8ECAAE4-BB06-4247-BFF9-DE9C767B500B}" srcOrd="3" destOrd="0" parTransId="{EE7AFA6A-9065-4FEC-BC19-2F72BA31E000}" sibTransId="{82EF2C73-0944-4DE5-9C97-BBD2A70FBC63}"/>
    <dgm:cxn modelId="{7245D303-6344-451B-A6A1-E18A65A092FE}" srcId="{C614299B-2072-44D6-A8AE-2578D07D4A7F}" destId="{8129AC6B-B953-4C5D-96AC-DB9331523478}" srcOrd="2" destOrd="0" parTransId="{FB89B788-C656-4FB1-938D-A527B2F1AC8D}" sibTransId="{4AD9F207-EEF0-4CB8-9D87-6E9A4CF0E676}"/>
    <dgm:cxn modelId="{3297AF50-D382-4EE9-B684-8DC6E3278A93}" type="presOf" srcId="{8129AC6B-B953-4C5D-96AC-DB9331523478}" destId="{6474684D-7762-4CD1-A3B4-D72EED99A80F}" srcOrd="0" destOrd="0" presId="urn:microsoft.com/office/officeart/2005/8/layout/cycle8"/>
    <dgm:cxn modelId="{2BFF39B4-673E-415C-BEDA-13B11218ED14}" srcId="{C614299B-2072-44D6-A8AE-2578D07D4A7F}" destId="{5A4119CE-9133-4521-82CC-5CDF3CB50322}" srcOrd="0" destOrd="0" parTransId="{1AD96800-53D1-42FA-8BB9-CB8EA57457DA}" sibTransId="{414911D7-F683-448B-BAFC-973B6F7BAE8C}"/>
    <dgm:cxn modelId="{D49B29B3-4230-41F8-B6BC-FD61498576BC}" type="presParOf" srcId="{9B2DF850-6F39-4C7B-8F9C-4FB9B6127052}" destId="{B21CCAE3-4E5B-4AD4-98CF-C84CFD4B2B61}" srcOrd="0" destOrd="0" presId="urn:microsoft.com/office/officeart/2005/8/layout/cycle8"/>
    <dgm:cxn modelId="{902FFF6F-603B-422E-BBD5-2060F558F2B2}" type="presParOf" srcId="{9B2DF850-6F39-4C7B-8F9C-4FB9B6127052}" destId="{C4E6D097-CC03-48D3-857D-DC2A4EA423B4}" srcOrd="1" destOrd="0" presId="urn:microsoft.com/office/officeart/2005/8/layout/cycle8"/>
    <dgm:cxn modelId="{BFC51849-C729-4147-85AD-E15200811941}" type="presParOf" srcId="{9B2DF850-6F39-4C7B-8F9C-4FB9B6127052}" destId="{C40D7312-AB5A-4228-9936-8EA64F9B4BFD}" srcOrd="2" destOrd="0" presId="urn:microsoft.com/office/officeart/2005/8/layout/cycle8"/>
    <dgm:cxn modelId="{2241C3AF-3AEE-4EF1-8D5F-D91C3290BA48}" type="presParOf" srcId="{9B2DF850-6F39-4C7B-8F9C-4FB9B6127052}" destId="{BED3001F-674E-470B-8B2C-07271289107A}" srcOrd="3" destOrd="0" presId="urn:microsoft.com/office/officeart/2005/8/layout/cycle8"/>
    <dgm:cxn modelId="{95B183E0-8CDA-4235-A0CE-C857CB12DB1E}" type="presParOf" srcId="{9B2DF850-6F39-4C7B-8F9C-4FB9B6127052}" destId="{F0F6EC78-48FE-4338-9470-51C5945E4C5A}" srcOrd="4" destOrd="0" presId="urn:microsoft.com/office/officeart/2005/8/layout/cycle8"/>
    <dgm:cxn modelId="{6861A204-3482-419B-AE36-E68F08C68389}" type="presParOf" srcId="{9B2DF850-6F39-4C7B-8F9C-4FB9B6127052}" destId="{FE710D49-71F8-4120-B031-08BEE462CD9D}" srcOrd="5" destOrd="0" presId="urn:microsoft.com/office/officeart/2005/8/layout/cycle8"/>
    <dgm:cxn modelId="{A1E34D7B-76E0-4465-9A2C-B0DDEC8E8736}" type="presParOf" srcId="{9B2DF850-6F39-4C7B-8F9C-4FB9B6127052}" destId="{5B7D1FFF-ED52-4A71-A480-94D2B8A2FE6C}" srcOrd="6" destOrd="0" presId="urn:microsoft.com/office/officeart/2005/8/layout/cycle8"/>
    <dgm:cxn modelId="{F30323AD-2C8A-4004-B420-9448A20AAA40}" type="presParOf" srcId="{9B2DF850-6F39-4C7B-8F9C-4FB9B6127052}" destId="{8F5469E7-585B-41BF-B0B9-432DEE54B9D7}" srcOrd="7" destOrd="0" presId="urn:microsoft.com/office/officeart/2005/8/layout/cycle8"/>
    <dgm:cxn modelId="{69C0C687-153A-4FE0-B1EC-15481907B852}" type="presParOf" srcId="{9B2DF850-6F39-4C7B-8F9C-4FB9B6127052}" destId="{6474684D-7762-4CD1-A3B4-D72EED99A80F}" srcOrd="8" destOrd="0" presId="urn:microsoft.com/office/officeart/2005/8/layout/cycle8"/>
    <dgm:cxn modelId="{90161D1A-F10B-4680-B126-8034510D84A4}" type="presParOf" srcId="{9B2DF850-6F39-4C7B-8F9C-4FB9B6127052}" destId="{C95F34F1-DD72-4853-B47C-7B5756226F78}" srcOrd="9" destOrd="0" presId="urn:microsoft.com/office/officeart/2005/8/layout/cycle8"/>
    <dgm:cxn modelId="{98E92BB0-BAC1-413B-83E6-A1754A9DD003}" type="presParOf" srcId="{9B2DF850-6F39-4C7B-8F9C-4FB9B6127052}" destId="{C5216591-466C-44C9-89A5-685B16ABD408}" srcOrd="10" destOrd="0" presId="urn:microsoft.com/office/officeart/2005/8/layout/cycle8"/>
    <dgm:cxn modelId="{73965C48-7A48-44E6-ABB5-BF7094FE1033}" type="presParOf" srcId="{9B2DF850-6F39-4C7B-8F9C-4FB9B6127052}" destId="{C15382B8-6863-47C3-BF10-11F61B0D5D87}" srcOrd="11" destOrd="0" presId="urn:microsoft.com/office/officeart/2005/8/layout/cycle8"/>
    <dgm:cxn modelId="{4523177D-534D-4BD6-9F87-C8842E65689E}" type="presParOf" srcId="{9B2DF850-6F39-4C7B-8F9C-4FB9B6127052}" destId="{2CD97BB5-9B57-47E0-A5C0-4486B247297F}" srcOrd="12" destOrd="0" presId="urn:microsoft.com/office/officeart/2005/8/layout/cycle8"/>
    <dgm:cxn modelId="{85E7E27F-F3C1-4DB9-9601-6FBC99C31459}" type="presParOf" srcId="{9B2DF850-6F39-4C7B-8F9C-4FB9B6127052}" destId="{89660C4E-0CFD-40FC-BBED-805D1F489E1A}" srcOrd="13" destOrd="0" presId="urn:microsoft.com/office/officeart/2005/8/layout/cycle8"/>
    <dgm:cxn modelId="{437EDA0F-A9AF-4C55-B588-8AB4A73C8CAD}" type="presParOf" srcId="{9B2DF850-6F39-4C7B-8F9C-4FB9B6127052}" destId="{3757EB00-7E33-495C-9253-257317882ECE}" srcOrd="14" destOrd="0" presId="urn:microsoft.com/office/officeart/2005/8/layout/cycle8"/>
    <dgm:cxn modelId="{0CA8FAA4-F7CD-461C-9C85-E60A1EEB1502}" type="presParOf" srcId="{9B2DF850-6F39-4C7B-8F9C-4FB9B6127052}" destId="{55D7C5ED-B24F-4D70-AEDF-14ECE132D3E5}" srcOrd="15" destOrd="0" presId="urn:microsoft.com/office/officeart/2005/8/layout/cycle8"/>
    <dgm:cxn modelId="{E5723A97-9930-45D9-9A26-73877738ED73}" type="presParOf" srcId="{9B2DF850-6F39-4C7B-8F9C-4FB9B6127052}" destId="{5CC2729F-211C-496E-9C98-DF70F4BFF7C1}" srcOrd="16" destOrd="0" presId="urn:microsoft.com/office/officeart/2005/8/layout/cycle8"/>
    <dgm:cxn modelId="{6240607C-4AAC-4518-AD48-5915E115E9F4}" type="presParOf" srcId="{9B2DF850-6F39-4C7B-8F9C-4FB9B6127052}" destId="{6E92B4D0-B766-4BEF-AE06-9F28B81EEEE6}" srcOrd="17" destOrd="0" presId="urn:microsoft.com/office/officeart/2005/8/layout/cycle8"/>
    <dgm:cxn modelId="{EBA0A568-D8E4-4CD3-9B5B-10C30BDAAF09}" type="presParOf" srcId="{9B2DF850-6F39-4C7B-8F9C-4FB9B6127052}" destId="{2C8C345A-097E-4D75-B389-7699A21EF75E}" srcOrd="18" destOrd="0" presId="urn:microsoft.com/office/officeart/2005/8/layout/cycle8"/>
    <dgm:cxn modelId="{347DDEFB-64D2-4293-A2F4-39E822DB33A8}" type="presParOf" srcId="{9B2DF850-6F39-4C7B-8F9C-4FB9B6127052}" destId="{A214AC69-442E-4B0A-9DD7-23F3962569FF}" srcOrd="19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0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Competenze scientifiche e tecnologiche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C5E28E90-1A91-4760-A627-3C0F386DB355}" type="presOf" srcId="{9AF403A6-2C5C-4F1B-B787-47496D3DBC71}" destId="{639FA514-32E4-4E31-8688-3C040A3F30E9}" srcOrd="0" destOrd="0" presId="urn:microsoft.com/office/officeart/2005/8/layout/chevronAccent+Icon"/>
    <dgm:cxn modelId="{E78C11D2-7BD5-4828-9E78-37EFE0A9459A}" type="presOf" srcId="{72D59079-C521-4525-81A4-701D931A8233}" destId="{9CE9EFE3-4E69-404A-8A99-59388A9E3922}" srcOrd="0" destOrd="0" presId="urn:microsoft.com/office/officeart/2005/8/layout/chevronAccent+Icon"/>
    <dgm:cxn modelId="{DA354096-55A3-4C55-B477-D25A5853DB25}" type="presParOf" srcId="{639FA514-32E4-4E31-8688-3C040A3F30E9}" destId="{F100BA9B-D4E3-421F-B5D8-42E4C50A115C}" srcOrd="0" destOrd="0" presId="urn:microsoft.com/office/officeart/2005/8/layout/chevronAccent+Icon"/>
    <dgm:cxn modelId="{5E71C116-01E7-46FA-A74B-83EF50E527CE}" type="presParOf" srcId="{F100BA9B-D4E3-421F-B5D8-42E4C50A115C}" destId="{51AD98A5-0898-43D1-8FB1-9AA58104A73C}" srcOrd="0" destOrd="0" presId="urn:microsoft.com/office/officeart/2005/8/layout/chevronAccent+Icon"/>
    <dgm:cxn modelId="{443CD341-3C00-4B05-AB5F-260A8D52AB3F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1.xml><?xml version="1.0" encoding="utf-8"?>
<dgm:dataModel xmlns:dgm="http://schemas.openxmlformats.org/drawingml/2006/diagram" xmlns:a="http://schemas.openxmlformats.org/drawingml/2006/main">
  <dgm:ptLst>
    <dgm:pt modelId="{E3B7187C-66D1-46C5-8C6D-72B1B685A54D}" type="doc">
      <dgm:prSet loTypeId="urn:microsoft.com/office/officeart/2005/8/layout/hList6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8E242049-A322-4485-BEB4-4F80C72F42F4}">
      <dgm:prSet custT="1"/>
      <dgm:spPr/>
      <dgm:t>
        <a:bodyPr/>
        <a:lstStyle/>
        <a:p>
          <a:pPr rtl="0"/>
          <a:r>
            <a:rPr lang="it-IT" sz="1200" b="1" dirty="0" smtClean="0"/>
            <a:t>In Sicilia sono attivi in un ambito almeno in parte afferente agli sviluppi tecnologici che interessano il tema, il Distretto </a:t>
          </a:r>
          <a:r>
            <a:rPr lang="it-IT" sz="1200" b="1" dirty="0" err="1" smtClean="0"/>
            <a:t>Agrobiopesca</a:t>
          </a:r>
          <a:r>
            <a:rPr lang="it-IT" sz="1200" b="1" dirty="0" smtClean="0"/>
            <a:t> e il Distretto ambiente marino</a:t>
          </a:r>
          <a:endParaRPr lang="it-IT" sz="1200" b="1" dirty="0"/>
        </a:p>
      </dgm:t>
    </dgm:pt>
    <dgm:pt modelId="{A37563D4-0A6A-472C-B6C0-E6070FE276B8}" type="parTrans" cxnId="{8886683E-AC65-4541-81D8-FD8A10981CD3}">
      <dgm:prSet/>
      <dgm:spPr/>
      <dgm:t>
        <a:bodyPr/>
        <a:lstStyle/>
        <a:p>
          <a:endParaRPr lang="it-IT"/>
        </a:p>
      </dgm:t>
    </dgm:pt>
    <dgm:pt modelId="{681FCFDC-26E9-4A3D-AE69-64DDE0606CFC}" type="sibTrans" cxnId="{8886683E-AC65-4541-81D8-FD8A10981CD3}">
      <dgm:prSet/>
      <dgm:spPr/>
      <dgm:t>
        <a:bodyPr/>
        <a:lstStyle/>
        <a:p>
          <a:endParaRPr lang="it-IT"/>
        </a:p>
      </dgm:t>
    </dgm:pt>
    <dgm:pt modelId="{529E06B4-DDFD-4869-90A9-4463D3A27485}">
      <dgm:prSet custT="1"/>
      <dgm:spPr/>
      <dgm:t>
        <a:bodyPr/>
        <a:lstStyle/>
        <a:p>
          <a:r>
            <a:rPr lang="it-IT" sz="1200" b="1" dirty="0" smtClean="0"/>
            <a:t>Una capacità distintiva sul tema è inoltre garantita dalla presenza di un Istituto del  CNR, con sede in provincia di Trapani</a:t>
          </a:r>
          <a:r>
            <a:rPr lang="it-IT" sz="1200" dirty="0" smtClean="0"/>
            <a:t>.</a:t>
          </a:r>
          <a:endParaRPr lang="it-IT" sz="1200" b="1" dirty="0"/>
        </a:p>
      </dgm:t>
    </dgm:pt>
    <dgm:pt modelId="{BA40D540-DF16-4BAC-B107-F52AA424B9DE}" type="parTrans" cxnId="{AAF12F9C-A30E-4B4F-B203-466671149003}">
      <dgm:prSet/>
      <dgm:spPr/>
      <dgm:t>
        <a:bodyPr/>
        <a:lstStyle/>
        <a:p>
          <a:endParaRPr lang="it-IT"/>
        </a:p>
      </dgm:t>
    </dgm:pt>
    <dgm:pt modelId="{0FCB2D60-5D1F-47AF-9822-C69D06D1A7E5}" type="sibTrans" cxnId="{AAF12F9C-A30E-4B4F-B203-466671149003}">
      <dgm:prSet/>
      <dgm:spPr/>
      <dgm:t>
        <a:bodyPr/>
        <a:lstStyle/>
        <a:p>
          <a:endParaRPr lang="it-IT"/>
        </a:p>
      </dgm:t>
    </dgm:pt>
    <dgm:pt modelId="{9C3C2FA8-D40C-4B93-9AB6-C4B0591412AC}" type="pres">
      <dgm:prSet presAssocID="{E3B7187C-66D1-46C5-8C6D-72B1B685A54D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1305EC0-DD22-4DEF-B461-A699C37567B1}" type="pres">
      <dgm:prSet presAssocID="{8E242049-A322-4485-BEB4-4F80C72F42F4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D365DAE-3251-46DB-BBC9-698576EE8675}" type="pres">
      <dgm:prSet presAssocID="{681FCFDC-26E9-4A3D-AE69-64DDE0606CFC}" presName="sibTrans" presStyleCnt="0"/>
      <dgm:spPr/>
    </dgm:pt>
    <dgm:pt modelId="{0986A703-EDCB-420F-A496-20F1F0753B2C}" type="pres">
      <dgm:prSet presAssocID="{529E06B4-DDFD-4869-90A9-4463D3A27485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8886683E-AC65-4541-81D8-FD8A10981CD3}" srcId="{E3B7187C-66D1-46C5-8C6D-72B1B685A54D}" destId="{8E242049-A322-4485-BEB4-4F80C72F42F4}" srcOrd="0" destOrd="0" parTransId="{A37563D4-0A6A-472C-B6C0-E6070FE276B8}" sibTransId="{681FCFDC-26E9-4A3D-AE69-64DDE0606CFC}"/>
    <dgm:cxn modelId="{15A57673-08C2-4DB9-847E-387167590955}" type="presOf" srcId="{E3B7187C-66D1-46C5-8C6D-72B1B685A54D}" destId="{9C3C2FA8-D40C-4B93-9AB6-C4B0591412AC}" srcOrd="0" destOrd="0" presId="urn:microsoft.com/office/officeart/2005/8/layout/hList6"/>
    <dgm:cxn modelId="{B5A670FB-A0CA-480C-8094-F98F5679FF00}" type="presOf" srcId="{8E242049-A322-4485-BEB4-4F80C72F42F4}" destId="{71305EC0-DD22-4DEF-B461-A699C37567B1}" srcOrd="0" destOrd="0" presId="urn:microsoft.com/office/officeart/2005/8/layout/hList6"/>
    <dgm:cxn modelId="{AAF12F9C-A30E-4B4F-B203-466671149003}" srcId="{E3B7187C-66D1-46C5-8C6D-72B1B685A54D}" destId="{529E06B4-DDFD-4869-90A9-4463D3A27485}" srcOrd="1" destOrd="0" parTransId="{BA40D540-DF16-4BAC-B107-F52AA424B9DE}" sibTransId="{0FCB2D60-5D1F-47AF-9822-C69D06D1A7E5}"/>
    <dgm:cxn modelId="{70BFDF37-3D69-471D-9DDE-FB149C2E683E}" type="presOf" srcId="{529E06B4-DDFD-4869-90A9-4463D3A27485}" destId="{0986A703-EDCB-420F-A496-20F1F0753B2C}" srcOrd="0" destOrd="0" presId="urn:microsoft.com/office/officeart/2005/8/layout/hList6"/>
    <dgm:cxn modelId="{990C09BA-AAD1-49CF-A8D5-BCFDFC1752E2}" type="presParOf" srcId="{9C3C2FA8-D40C-4B93-9AB6-C4B0591412AC}" destId="{71305EC0-DD22-4DEF-B461-A699C37567B1}" srcOrd="0" destOrd="0" presId="urn:microsoft.com/office/officeart/2005/8/layout/hList6"/>
    <dgm:cxn modelId="{962FF539-520A-4215-A402-943A366FE453}" type="presParOf" srcId="{9C3C2FA8-D40C-4B93-9AB6-C4B0591412AC}" destId="{9D365DAE-3251-46DB-BBC9-698576EE8675}" srcOrd="1" destOrd="0" presId="urn:microsoft.com/office/officeart/2005/8/layout/hList6"/>
    <dgm:cxn modelId="{751AD716-CA82-4A07-B0ED-32E00C81E82E}" type="presParOf" srcId="{9C3C2FA8-D40C-4B93-9AB6-C4B0591412AC}" destId="{0986A703-EDCB-420F-A496-20F1F0753B2C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92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>
        <dgm:presLayoutVars>
          <dgm:bulletEnabled val="1"/>
        </dgm:presLayoutVars>
      </dgm:prSet>
      <dgm:spPr/>
    </dgm:pt>
  </dgm:ptLst>
  <dgm:cxnLst>
    <dgm:cxn modelId="{FEA94A64-1178-425A-B226-58D32CACE900}" type="presOf" srcId="{188FD03C-7D6A-4D29-8FCB-9C1383057E36}" destId="{C08F212E-D010-4B1B-884C-243E8BB88BD2}" srcOrd="0" destOrd="0" presId="urn:microsoft.com/office/officeart/2005/8/layout/list1"/>
    <dgm:cxn modelId="{194791ED-DF15-4C0E-A194-A3E2B325D238}" type="presOf" srcId="{E4C7AF03-E2BD-4E48-8DAB-C1261D3D7EA9}" destId="{03DB856F-DE91-4CA0-AD05-B356DE21BFDC}" srcOrd="0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3197D776-D511-4474-86B8-83E35AA63C57}" type="presOf" srcId="{E4C7AF03-E2BD-4E48-8DAB-C1261D3D7EA9}" destId="{21D380AD-5D38-4835-9FB5-615E5454C686}" srcOrd="1" destOrd="0" presId="urn:microsoft.com/office/officeart/2005/8/layout/list1"/>
    <dgm:cxn modelId="{C67DE808-9F74-45B8-A547-C8F375CB42AA}" type="presParOf" srcId="{C08F212E-D010-4B1B-884C-243E8BB88BD2}" destId="{A042C0D5-6636-40E8-83EA-703099528EDB}" srcOrd="0" destOrd="0" presId="urn:microsoft.com/office/officeart/2005/8/layout/list1"/>
    <dgm:cxn modelId="{FB303026-5432-4C95-8E70-6EFCC568344D}" type="presParOf" srcId="{A042C0D5-6636-40E8-83EA-703099528EDB}" destId="{03DB856F-DE91-4CA0-AD05-B356DE21BFDC}" srcOrd="0" destOrd="0" presId="urn:microsoft.com/office/officeart/2005/8/layout/list1"/>
    <dgm:cxn modelId="{8F14731A-994A-4FC4-BAA9-7F4BF2912A3F}" type="presParOf" srcId="{A042C0D5-6636-40E8-83EA-703099528EDB}" destId="{21D380AD-5D38-4835-9FB5-615E5454C686}" srcOrd="1" destOrd="0" presId="urn:microsoft.com/office/officeart/2005/8/layout/list1"/>
    <dgm:cxn modelId="{84BEBD52-3D96-47D6-A39F-97B91DB99EE0}" type="presParOf" srcId="{C08F212E-D010-4B1B-884C-243E8BB88BD2}" destId="{E77B3B8A-36B6-4AF7-9D59-DF889FA8E07C}" srcOrd="1" destOrd="0" presId="urn:microsoft.com/office/officeart/2005/8/layout/list1"/>
    <dgm:cxn modelId="{DA81BBE5-BA56-4876-883A-C4BD9BD70165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3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Competenze produttive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4EA1D0F2-E8C1-4760-A527-FB341714BFD4}" type="presOf" srcId="{72D59079-C521-4525-81A4-701D931A8233}" destId="{9CE9EFE3-4E69-404A-8A99-59388A9E3922}" srcOrd="0" destOrd="0" presId="urn:microsoft.com/office/officeart/2005/8/layout/chevronAccent+Icon"/>
    <dgm:cxn modelId="{14F4BF23-DF60-4BD2-9CCC-7DE19A444CC4}" type="presOf" srcId="{9AF403A6-2C5C-4F1B-B787-47496D3DBC71}" destId="{639FA514-32E4-4E31-8688-3C040A3F30E9}" srcOrd="0" destOrd="0" presId="urn:microsoft.com/office/officeart/2005/8/layout/chevronAccent+Icon"/>
    <dgm:cxn modelId="{44F8D0DF-6030-4C50-A726-68D245A9CBB6}" type="presParOf" srcId="{639FA514-32E4-4E31-8688-3C040A3F30E9}" destId="{F100BA9B-D4E3-421F-B5D8-42E4C50A115C}" srcOrd="0" destOrd="0" presId="urn:microsoft.com/office/officeart/2005/8/layout/chevronAccent+Icon"/>
    <dgm:cxn modelId="{1FEDEFAF-44B1-4789-8998-BDC0DBD1364F}" type="presParOf" srcId="{F100BA9B-D4E3-421F-B5D8-42E4C50A115C}" destId="{51AD98A5-0898-43D1-8FB1-9AA58104A73C}" srcOrd="0" destOrd="0" presId="urn:microsoft.com/office/officeart/2005/8/layout/chevronAccent+Icon"/>
    <dgm:cxn modelId="{35AA25CA-E4AE-4E56-8370-57F0EB3D9315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4.xml><?xml version="1.0" encoding="utf-8"?>
<dgm:dataModel xmlns:dgm="http://schemas.openxmlformats.org/drawingml/2006/diagram" xmlns:a="http://schemas.openxmlformats.org/drawingml/2006/main">
  <dgm:ptLst>
    <dgm:pt modelId="{58896116-ABC0-4554-8498-A7EEE842D565}" type="doc">
      <dgm:prSet loTypeId="urn:microsoft.com/office/officeart/2008/layout/VerticalCurvedList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it-IT"/>
        </a:p>
      </dgm:t>
    </dgm:pt>
    <dgm:pt modelId="{948F2BAB-A284-4449-BCA7-8A35E26296DF}">
      <dgm:prSet custT="1"/>
      <dgm:spPr/>
      <dgm:t>
        <a:bodyPr/>
        <a:lstStyle/>
        <a:p>
          <a:pPr algn="just"/>
          <a:r>
            <a:rPr lang="it-IT" sz="1400" b="1" dirty="0" smtClean="0"/>
            <a:t>Distretto micro e nano</a:t>
          </a:r>
          <a:endParaRPr lang="it-IT" sz="1400" b="0" dirty="0"/>
        </a:p>
      </dgm:t>
    </dgm:pt>
    <dgm:pt modelId="{8F65776C-4BFC-45CC-A8C6-ADE2F5D0943C}" type="parTrans" cxnId="{F0AFA403-BAE0-4BC0-B3FC-C6C4F88908EA}">
      <dgm:prSet/>
      <dgm:spPr/>
      <dgm:t>
        <a:bodyPr/>
        <a:lstStyle/>
        <a:p>
          <a:endParaRPr lang="it-IT"/>
        </a:p>
      </dgm:t>
    </dgm:pt>
    <dgm:pt modelId="{365623B1-13B9-4CEA-B6BC-890FE2B5D66A}" type="sibTrans" cxnId="{F0AFA403-BAE0-4BC0-B3FC-C6C4F88908EA}">
      <dgm:prSet/>
      <dgm:spPr/>
      <dgm:t>
        <a:bodyPr/>
        <a:lstStyle/>
        <a:p>
          <a:endParaRPr lang="it-IT"/>
        </a:p>
      </dgm:t>
    </dgm:pt>
    <dgm:pt modelId="{350679FD-3536-42F0-911B-1E169A7A7626}">
      <dgm:prSet custT="1"/>
      <dgm:spPr/>
      <dgm:t>
        <a:bodyPr/>
        <a:lstStyle/>
        <a:p>
          <a:pPr algn="just"/>
          <a:r>
            <a:rPr lang="it-IT" sz="1400" b="1" smtClean="0"/>
            <a:t>Distretto </a:t>
          </a:r>
          <a:endParaRPr lang="it-IT" sz="1400" dirty="0" smtClean="0"/>
        </a:p>
        <a:p>
          <a:pPr algn="just"/>
          <a:r>
            <a:rPr lang="it-IT" sz="1400" b="1" dirty="0" smtClean="0"/>
            <a:t>Cantieristica navale</a:t>
          </a:r>
          <a:endParaRPr lang="it-IT" sz="1400" b="0" dirty="0"/>
        </a:p>
      </dgm:t>
    </dgm:pt>
    <dgm:pt modelId="{4864FE36-8C3B-4300-A724-63D8039C9EDE}" type="parTrans" cxnId="{0786091F-A052-49B2-B05B-9BA2B9519896}">
      <dgm:prSet/>
      <dgm:spPr/>
      <dgm:t>
        <a:bodyPr/>
        <a:lstStyle/>
        <a:p>
          <a:endParaRPr lang="it-IT"/>
        </a:p>
      </dgm:t>
    </dgm:pt>
    <dgm:pt modelId="{3110B4B8-AC66-4275-A772-2BD4306461F6}" type="sibTrans" cxnId="{0786091F-A052-49B2-B05B-9BA2B9519896}">
      <dgm:prSet/>
      <dgm:spPr/>
      <dgm:t>
        <a:bodyPr/>
        <a:lstStyle/>
        <a:p>
          <a:endParaRPr lang="it-IT"/>
        </a:p>
      </dgm:t>
    </dgm:pt>
    <dgm:pt modelId="{70833996-0218-4156-9120-90342FEC84FA}" type="pres">
      <dgm:prSet presAssocID="{58896116-ABC0-4554-8498-A7EEE842D56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it-IT"/>
        </a:p>
      </dgm:t>
    </dgm:pt>
    <dgm:pt modelId="{7811569F-B9A9-4665-BFA7-B6A5FA12F01B}" type="pres">
      <dgm:prSet presAssocID="{58896116-ABC0-4554-8498-A7EEE842D565}" presName="Name1" presStyleCnt="0"/>
      <dgm:spPr/>
    </dgm:pt>
    <dgm:pt modelId="{FBCC8482-3F4F-4A30-9F00-C7980724F5A6}" type="pres">
      <dgm:prSet presAssocID="{58896116-ABC0-4554-8498-A7EEE842D565}" presName="cycle" presStyleCnt="0"/>
      <dgm:spPr/>
    </dgm:pt>
    <dgm:pt modelId="{346BF58D-0779-4CC1-8D32-21227AE7408A}" type="pres">
      <dgm:prSet presAssocID="{58896116-ABC0-4554-8498-A7EEE842D565}" presName="srcNode" presStyleLbl="node1" presStyleIdx="0" presStyleCnt="2"/>
      <dgm:spPr/>
    </dgm:pt>
    <dgm:pt modelId="{30504AB0-B184-4D16-96DC-DA6EB7C103B6}" type="pres">
      <dgm:prSet presAssocID="{58896116-ABC0-4554-8498-A7EEE842D565}" presName="conn" presStyleLbl="parChTrans1D2" presStyleIdx="0" presStyleCnt="1"/>
      <dgm:spPr/>
      <dgm:t>
        <a:bodyPr/>
        <a:lstStyle/>
        <a:p>
          <a:endParaRPr lang="it-IT"/>
        </a:p>
      </dgm:t>
    </dgm:pt>
    <dgm:pt modelId="{7523A1B8-04D4-43A5-A5F7-6AFE2AE51233}" type="pres">
      <dgm:prSet presAssocID="{58896116-ABC0-4554-8498-A7EEE842D565}" presName="extraNode" presStyleLbl="node1" presStyleIdx="0" presStyleCnt="2"/>
      <dgm:spPr/>
    </dgm:pt>
    <dgm:pt modelId="{0C1EF09C-3CB0-4688-BEAE-EFF86344058F}" type="pres">
      <dgm:prSet presAssocID="{58896116-ABC0-4554-8498-A7EEE842D565}" presName="dstNode" presStyleLbl="node1" presStyleIdx="0" presStyleCnt="2"/>
      <dgm:spPr/>
    </dgm:pt>
    <dgm:pt modelId="{3DB4AB4D-2F2C-4B10-A6FA-9EF9522610F0}" type="pres">
      <dgm:prSet presAssocID="{948F2BAB-A284-4449-BCA7-8A35E26296DF}" presName="text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8009725B-BF70-46BE-A3B0-217837F5BBA9}" type="pres">
      <dgm:prSet presAssocID="{948F2BAB-A284-4449-BCA7-8A35E26296DF}" presName="accent_1" presStyleCnt="0"/>
      <dgm:spPr/>
    </dgm:pt>
    <dgm:pt modelId="{5894AF4C-E117-4DB5-962B-41A76EA0DA9E}" type="pres">
      <dgm:prSet presAssocID="{948F2BAB-A284-4449-BCA7-8A35E26296DF}" presName="accentRepeatNode" presStyleLbl="solidFgAcc1" presStyleIdx="0" presStyleCnt="2"/>
      <dgm:spPr/>
    </dgm:pt>
    <dgm:pt modelId="{7ED4864F-F2BC-48D6-B547-6D5CD84E322F}" type="pres">
      <dgm:prSet presAssocID="{350679FD-3536-42F0-911B-1E169A7A7626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0B8D1A4-8A49-43C4-9A35-147C76DE4ECA}" type="pres">
      <dgm:prSet presAssocID="{350679FD-3536-42F0-911B-1E169A7A7626}" presName="accent_2" presStyleCnt="0"/>
      <dgm:spPr/>
    </dgm:pt>
    <dgm:pt modelId="{C67AFDD8-AE63-4F83-AEC8-2AE6FEFB0DA3}" type="pres">
      <dgm:prSet presAssocID="{350679FD-3536-42F0-911B-1E169A7A7626}" presName="accentRepeatNode" presStyleLbl="solidFgAcc1" presStyleIdx="1" presStyleCnt="2"/>
      <dgm:spPr/>
    </dgm:pt>
  </dgm:ptLst>
  <dgm:cxnLst>
    <dgm:cxn modelId="{F0AFA403-BAE0-4BC0-B3FC-C6C4F88908EA}" srcId="{58896116-ABC0-4554-8498-A7EEE842D565}" destId="{948F2BAB-A284-4449-BCA7-8A35E26296DF}" srcOrd="0" destOrd="0" parTransId="{8F65776C-4BFC-45CC-A8C6-ADE2F5D0943C}" sibTransId="{365623B1-13B9-4CEA-B6BC-890FE2B5D66A}"/>
    <dgm:cxn modelId="{A441A01A-149E-4B18-9579-60360659D9DC}" type="presOf" srcId="{365623B1-13B9-4CEA-B6BC-890FE2B5D66A}" destId="{30504AB0-B184-4D16-96DC-DA6EB7C103B6}" srcOrd="0" destOrd="0" presId="urn:microsoft.com/office/officeart/2008/layout/VerticalCurvedList"/>
    <dgm:cxn modelId="{907F5339-EAE1-4377-96CA-80CAC9426613}" type="presOf" srcId="{58896116-ABC0-4554-8498-A7EEE842D565}" destId="{70833996-0218-4156-9120-90342FEC84FA}" srcOrd="0" destOrd="0" presId="urn:microsoft.com/office/officeart/2008/layout/VerticalCurvedList"/>
    <dgm:cxn modelId="{534491C2-4177-4F58-9413-6DC243B38668}" type="presOf" srcId="{948F2BAB-A284-4449-BCA7-8A35E26296DF}" destId="{3DB4AB4D-2F2C-4B10-A6FA-9EF9522610F0}" srcOrd="0" destOrd="0" presId="urn:microsoft.com/office/officeart/2008/layout/VerticalCurvedList"/>
    <dgm:cxn modelId="{50B3ED06-F715-4EAF-93D7-6089F8D700A5}" type="presOf" srcId="{350679FD-3536-42F0-911B-1E169A7A7626}" destId="{7ED4864F-F2BC-48D6-B547-6D5CD84E322F}" srcOrd="0" destOrd="0" presId="urn:microsoft.com/office/officeart/2008/layout/VerticalCurvedList"/>
    <dgm:cxn modelId="{0786091F-A052-49B2-B05B-9BA2B9519896}" srcId="{58896116-ABC0-4554-8498-A7EEE842D565}" destId="{350679FD-3536-42F0-911B-1E169A7A7626}" srcOrd="1" destOrd="0" parTransId="{4864FE36-8C3B-4300-A724-63D8039C9EDE}" sibTransId="{3110B4B8-AC66-4275-A772-2BD4306461F6}"/>
    <dgm:cxn modelId="{0CBA66EA-36E9-4943-BA8C-F076889A041D}" type="presParOf" srcId="{70833996-0218-4156-9120-90342FEC84FA}" destId="{7811569F-B9A9-4665-BFA7-B6A5FA12F01B}" srcOrd="0" destOrd="0" presId="urn:microsoft.com/office/officeart/2008/layout/VerticalCurvedList"/>
    <dgm:cxn modelId="{97D41357-6494-4FED-9130-7EB28F95A5F7}" type="presParOf" srcId="{7811569F-B9A9-4665-BFA7-B6A5FA12F01B}" destId="{FBCC8482-3F4F-4A30-9F00-C7980724F5A6}" srcOrd="0" destOrd="0" presId="urn:microsoft.com/office/officeart/2008/layout/VerticalCurvedList"/>
    <dgm:cxn modelId="{4C396B40-55C6-41A0-8F4D-6EC284A6F07D}" type="presParOf" srcId="{FBCC8482-3F4F-4A30-9F00-C7980724F5A6}" destId="{346BF58D-0779-4CC1-8D32-21227AE7408A}" srcOrd="0" destOrd="0" presId="urn:microsoft.com/office/officeart/2008/layout/VerticalCurvedList"/>
    <dgm:cxn modelId="{6A391699-AC2F-467C-AEB4-E55EAAF0E460}" type="presParOf" srcId="{FBCC8482-3F4F-4A30-9F00-C7980724F5A6}" destId="{30504AB0-B184-4D16-96DC-DA6EB7C103B6}" srcOrd="1" destOrd="0" presId="urn:microsoft.com/office/officeart/2008/layout/VerticalCurvedList"/>
    <dgm:cxn modelId="{BCD2B1BE-1648-4D2B-9864-0F1A9C1D9776}" type="presParOf" srcId="{FBCC8482-3F4F-4A30-9F00-C7980724F5A6}" destId="{7523A1B8-04D4-43A5-A5F7-6AFE2AE51233}" srcOrd="2" destOrd="0" presId="urn:microsoft.com/office/officeart/2008/layout/VerticalCurvedList"/>
    <dgm:cxn modelId="{60EAE097-CF09-4B09-A271-5A83354E4273}" type="presParOf" srcId="{FBCC8482-3F4F-4A30-9F00-C7980724F5A6}" destId="{0C1EF09C-3CB0-4688-BEAE-EFF86344058F}" srcOrd="3" destOrd="0" presId="urn:microsoft.com/office/officeart/2008/layout/VerticalCurvedList"/>
    <dgm:cxn modelId="{296FB6F1-69F2-447B-8A5A-2C367719F918}" type="presParOf" srcId="{7811569F-B9A9-4665-BFA7-B6A5FA12F01B}" destId="{3DB4AB4D-2F2C-4B10-A6FA-9EF9522610F0}" srcOrd="1" destOrd="0" presId="urn:microsoft.com/office/officeart/2008/layout/VerticalCurvedList"/>
    <dgm:cxn modelId="{68E3D9E4-3B2F-4BA5-A733-17A6415AFE42}" type="presParOf" srcId="{7811569F-B9A9-4665-BFA7-B6A5FA12F01B}" destId="{8009725B-BF70-46BE-A3B0-217837F5BBA9}" srcOrd="2" destOrd="0" presId="urn:microsoft.com/office/officeart/2008/layout/VerticalCurvedList"/>
    <dgm:cxn modelId="{64656CC0-45D7-44A9-9EE9-A4E15002DF3E}" type="presParOf" srcId="{8009725B-BF70-46BE-A3B0-217837F5BBA9}" destId="{5894AF4C-E117-4DB5-962B-41A76EA0DA9E}" srcOrd="0" destOrd="0" presId="urn:microsoft.com/office/officeart/2008/layout/VerticalCurvedList"/>
    <dgm:cxn modelId="{0F3A89DA-FF46-4192-AC67-FBF2B62EA6F3}" type="presParOf" srcId="{7811569F-B9A9-4665-BFA7-B6A5FA12F01B}" destId="{7ED4864F-F2BC-48D6-B547-6D5CD84E322F}" srcOrd="3" destOrd="0" presId="urn:microsoft.com/office/officeart/2008/layout/VerticalCurvedList"/>
    <dgm:cxn modelId="{6C9E8558-9350-49F6-A35F-41364E1329C5}" type="presParOf" srcId="{7811569F-B9A9-4665-BFA7-B6A5FA12F01B}" destId="{A0B8D1A4-8A49-43C4-9A35-147C76DE4ECA}" srcOrd="4" destOrd="0" presId="urn:microsoft.com/office/officeart/2008/layout/VerticalCurvedList"/>
    <dgm:cxn modelId="{FBFB3502-AD1E-4BD6-BC25-D7E669549B48}" type="presParOf" srcId="{A0B8D1A4-8A49-43C4-9A35-147C76DE4ECA}" destId="{C67AFDD8-AE63-4F83-AEC8-2AE6FEFB0DA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5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Indicazioni di priorità per RIS3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70B8E0CE-86AB-401F-94B3-79D39D2D0FFA}" type="presOf" srcId="{72D59079-C521-4525-81A4-701D931A8233}" destId="{9CE9EFE3-4E69-404A-8A99-59388A9E3922}" srcOrd="0" destOrd="0" presId="urn:microsoft.com/office/officeart/2005/8/layout/chevronAccent+Icon"/>
    <dgm:cxn modelId="{F57BA1DC-1C12-4C63-8C70-0A907AF4F29A}" type="presOf" srcId="{9AF403A6-2C5C-4F1B-B787-47496D3DBC71}" destId="{639FA514-32E4-4E31-8688-3C040A3F30E9}" srcOrd="0" destOrd="0" presId="urn:microsoft.com/office/officeart/2005/8/layout/chevronAccent+Icon"/>
    <dgm:cxn modelId="{5E3CF054-4277-4082-8FC1-584AE3E8A953}" type="presParOf" srcId="{639FA514-32E4-4E31-8688-3C040A3F30E9}" destId="{F100BA9B-D4E3-421F-B5D8-42E4C50A115C}" srcOrd="0" destOrd="0" presId="urn:microsoft.com/office/officeart/2005/8/layout/chevronAccent+Icon"/>
    <dgm:cxn modelId="{B48EC1CA-38FD-4648-8976-21416A9492E4}" type="presParOf" srcId="{F100BA9B-D4E3-421F-B5D8-42E4C50A115C}" destId="{51AD98A5-0898-43D1-8FB1-9AA58104A73C}" srcOrd="0" destOrd="0" presId="urn:microsoft.com/office/officeart/2005/8/layout/chevronAccent+Icon"/>
    <dgm:cxn modelId="{2D48E216-B97B-4D59-A672-33EC70BA07AD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6.xml><?xml version="1.0" encoding="utf-8"?>
<dgm:dataModel xmlns:dgm="http://schemas.openxmlformats.org/drawingml/2006/diagram" xmlns:a="http://schemas.openxmlformats.org/drawingml/2006/main">
  <dgm:ptLst>
    <dgm:pt modelId="{F7E528C2-2A82-4B82-B450-9A3C8AE5F80C}" type="doc">
      <dgm:prSet loTypeId="urn:microsoft.com/office/officeart/2008/layout/LinedList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A3F1DFDD-091D-4A02-B952-D25D8EEA3D80}">
      <dgm:prSet custT="1"/>
      <dgm:spPr/>
      <dgm:t>
        <a:bodyPr/>
        <a:lstStyle/>
        <a:p>
          <a:pPr algn="just" rtl="0"/>
          <a:r>
            <a:rPr lang="it-IT" sz="2000" dirty="0" smtClean="0"/>
            <a:t>Il Tavolo intende promuovere un confronto e un approfondimento in relazione a quattro principali ambiti applicativi dell’Economia del Mare</a:t>
          </a:r>
          <a:endParaRPr lang="it-IT" sz="2000" b="1" dirty="0">
            <a:solidFill>
              <a:schemeClr val="bg2">
                <a:lumMod val="25000"/>
              </a:schemeClr>
            </a:solidFill>
          </a:endParaRPr>
        </a:p>
      </dgm:t>
    </dgm:pt>
    <dgm:pt modelId="{E13C4420-7129-42D5-B68B-F748D7E03583}" type="parTrans" cxnId="{0EEA6C05-35F0-4D12-B029-845B65DCF730}">
      <dgm:prSet/>
      <dgm:spPr/>
      <dgm:t>
        <a:bodyPr/>
        <a:lstStyle/>
        <a:p>
          <a:endParaRPr lang="it-IT"/>
        </a:p>
      </dgm:t>
    </dgm:pt>
    <dgm:pt modelId="{4DB7724F-C82C-4540-B47B-13E59DF030D0}" type="sibTrans" cxnId="{0EEA6C05-35F0-4D12-B029-845B65DCF730}">
      <dgm:prSet/>
      <dgm:spPr/>
      <dgm:t>
        <a:bodyPr/>
        <a:lstStyle/>
        <a:p>
          <a:endParaRPr lang="it-IT"/>
        </a:p>
      </dgm:t>
    </dgm:pt>
    <dgm:pt modelId="{55926518-9224-459E-940D-43571B5ADBE0}" type="pres">
      <dgm:prSet presAssocID="{F7E528C2-2A82-4B82-B450-9A3C8AE5F80C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it-IT"/>
        </a:p>
      </dgm:t>
    </dgm:pt>
    <dgm:pt modelId="{16FB8147-1263-4D0A-90A2-E796A1C5B87C}" type="pres">
      <dgm:prSet presAssocID="{A3F1DFDD-091D-4A02-B952-D25D8EEA3D80}" presName="thickLine" presStyleLbl="alignNode1" presStyleIdx="0" presStyleCnt="1"/>
      <dgm:spPr/>
    </dgm:pt>
    <dgm:pt modelId="{6EB218E7-919C-4FF9-83CA-A70F8D8900AF}" type="pres">
      <dgm:prSet presAssocID="{A3F1DFDD-091D-4A02-B952-D25D8EEA3D80}" presName="horz1" presStyleCnt="0"/>
      <dgm:spPr/>
    </dgm:pt>
    <dgm:pt modelId="{580B2EED-386A-4A11-AE3B-B74F4E81019D}" type="pres">
      <dgm:prSet presAssocID="{A3F1DFDD-091D-4A02-B952-D25D8EEA3D80}" presName="tx1" presStyleLbl="revTx" presStyleIdx="0" presStyleCnt="1"/>
      <dgm:spPr/>
      <dgm:t>
        <a:bodyPr/>
        <a:lstStyle/>
        <a:p>
          <a:endParaRPr lang="it-IT"/>
        </a:p>
      </dgm:t>
    </dgm:pt>
    <dgm:pt modelId="{D94B067A-8B8B-4EFD-B631-3D4DFB9E9516}" type="pres">
      <dgm:prSet presAssocID="{A3F1DFDD-091D-4A02-B952-D25D8EEA3D80}" presName="vert1" presStyleCnt="0"/>
      <dgm:spPr/>
    </dgm:pt>
  </dgm:ptLst>
  <dgm:cxnLst>
    <dgm:cxn modelId="{815FEE0A-C828-4F64-A6BD-698AFC650DDC}" type="presOf" srcId="{F7E528C2-2A82-4B82-B450-9A3C8AE5F80C}" destId="{55926518-9224-459E-940D-43571B5ADBE0}" srcOrd="0" destOrd="0" presId="urn:microsoft.com/office/officeart/2008/layout/LinedList"/>
    <dgm:cxn modelId="{D7E24882-8C3E-46C0-B2C6-E065B342A2A3}" type="presOf" srcId="{A3F1DFDD-091D-4A02-B952-D25D8EEA3D80}" destId="{580B2EED-386A-4A11-AE3B-B74F4E81019D}" srcOrd="0" destOrd="0" presId="urn:microsoft.com/office/officeart/2008/layout/LinedList"/>
    <dgm:cxn modelId="{0EEA6C05-35F0-4D12-B029-845B65DCF730}" srcId="{F7E528C2-2A82-4B82-B450-9A3C8AE5F80C}" destId="{A3F1DFDD-091D-4A02-B952-D25D8EEA3D80}" srcOrd="0" destOrd="0" parTransId="{E13C4420-7129-42D5-B68B-F748D7E03583}" sibTransId="{4DB7724F-C82C-4540-B47B-13E59DF030D0}"/>
    <dgm:cxn modelId="{2C1471AD-2D71-4931-812B-BD2D8830DD4E}" type="presParOf" srcId="{55926518-9224-459E-940D-43571B5ADBE0}" destId="{16FB8147-1263-4D0A-90A2-E796A1C5B87C}" srcOrd="0" destOrd="0" presId="urn:microsoft.com/office/officeart/2008/layout/LinedList"/>
    <dgm:cxn modelId="{7ED82A9C-46BA-46D3-A807-FE8190FF5016}" type="presParOf" srcId="{55926518-9224-459E-940D-43571B5ADBE0}" destId="{6EB218E7-919C-4FF9-83CA-A70F8D8900AF}" srcOrd="1" destOrd="0" presId="urn:microsoft.com/office/officeart/2008/layout/LinedList"/>
    <dgm:cxn modelId="{0B489675-2188-47DB-84B8-E0B12E848942}" type="presParOf" srcId="{6EB218E7-919C-4FF9-83CA-A70F8D8900AF}" destId="{580B2EED-386A-4A11-AE3B-B74F4E81019D}" srcOrd="0" destOrd="0" presId="urn:microsoft.com/office/officeart/2008/layout/LinedList"/>
    <dgm:cxn modelId="{2C8A380C-030E-4653-AB92-4AEC340843DC}" type="presParOf" srcId="{6EB218E7-919C-4FF9-83CA-A70F8D8900AF}" destId="{D94B067A-8B8B-4EFD-B631-3D4DFB9E9516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7.xml><?xml version="1.0" encoding="utf-8"?>
<dgm:dataModel xmlns:dgm="http://schemas.openxmlformats.org/drawingml/2006/diagram" xmlns:a="http://schemas.openxmlformats.org/drawingml/2006/main">
  <dgm:ptLst>
    <dgm:pt modelId="{188FD03C-7D6A-4D29-8FCB-9C1383057E36}" type="doc">
      <dgm:prSet loTypeId="urn:microsoft.com/office/officeart/2005/8/layout/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E4C7AF03-E2BD-4E48-8DAB-C1261D3D7EA9}">
      <dgm:prSet custT="1"/>
      <dgm:spPr/>
      <dgm:t>
        <a:bodyPr/>
        <a:lstStyle/>
        <a:p>
          <a:pPr rtl="0"/>
          <a:r>
            <a:rPr lang="it-IT" sz="14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3. Indicazioni di Priorità</a:t>
          </a:r>
          <a:endParaRPr lang="it-IT" sz="1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gm:t>
    </dgm:pt>
    <dgm:pt modelId="{53E0B62A-B901-42B5-BC8F-972C93C53946}" type="parTrans" cxnId="{E5B37BC2-A485-49A3-B614-E063304C8A54}">
      <dgm:prSet/>
      <dgm:spPr/>
      <dgm:t>
        <a:bodyPr/>
        <a:lstStyle/>
        <a:p>
          <a:endParaRPr lang="it-IT"/>
        </a:p>
      </dgm:t>
    </dgm:pt>
    <dgm:pt modelId="{E528090D-E987-4CBE-A7D4-6D7D9028F1FC}" type="sibTrans" cxnId="{E5B37BC2-A485-49A3-B614-E063304C8A54}">
      <dgm:prSet/>
      <dgm:spPr/>
      <dgm:t>
        <a:bodyPr/>
        <a:lstStyle/>
        <a:p>
          <a:endParaRPr lang="it-IT"/>
        </a:p>
      </dgm:t>
    </dgm:pt>
    <dgm:pt modelId="{C08F212E-D010-4B1B-884C-243E8BB88BD2}" type="pres">
      <dgm:prSet presAssocID="{188FD03C-7D6A-4D29-8FCB-9C1383057E36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042C0D5-6636-40E8-83EA-703099528EDB}" type="pres">
      <dgm:prSet presAssocID="{E4C7AF03-E2BD-4E48-8DAB-C1261D3D7EA9}" presName="parentLin" presStyleCnt="0"/>
      <dgm:spPr/>
    </dgm:pt>
    <dgm:pt modelId="{03DB856F-DE91-4CA0-AD05-B356DE21BFDC}" type="pres">
      <dgm:prSet presAssocID="{E4C7AF03-E2BD-4E48-8DAB-C1261D3D7EA9}" presName="parentLeftMargin" presStyleLbl="node1" presStyleIdx="0" presStyleCnt="1"/>
      <dgm:spPr/>
      <dgm:t>
        <a:bodyPr/>
        <a:lstStyle/>
        <a:p>
          <a:endParaRPr lang="it-IT"/>
        </a:p>
      </dgm:t>
    </dgm:pt>
    <dgm:pt modelId="{21D380AD-5D38-4835-9FB5-615E5454C686}" type="pres">
      <dgm:prSet presAssocID="{E4C7AF03-E2BD-4E48-8DAB-C1261D3D7EA9}" presName="parentText" presStyleLbl="node1" presStyleIdx="0" presStyleCnt="1" custScaleY="78457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77B3B8A-36B6-4AF7-9D59-DF889FA8E07C}" type="pres">
      <dgm:prSet presAssocID="{E4C7AF03-E2BD-4E48-8DAB-C1261D3D7EA9}" presName="negativeSpace" presStyleCnt="0"/>
      <dgm:spPr/>
    </dgm:pt>
    <dgm:pt modelId="{DA4AD343-D282-460C-AE7C-23C5C97E29FD}" type="pres">
      <dgm:prSet presAssocID="{E4C7AF03-E2BD-4E48-8DAB-C1261D3D7EA9}" presName="childText" presStyleLbl="conFgAcc1" presStyleIdx="0" presStyleCnt="1" custScaleY="90321">
        <dgm:presLayoutVars>
          <dgm:bulletEnabled val="1"/>
        </dgm:presLayoutVars>
      </dgm:prSet>
      <dgm:spPr/>
    </dgm:pt>
  </dgm:ptLst>
  <dgm:cxnLst>
    <dgm:cxn modelId="{50CF6743-D79D-46A7-80A0-C68698FF099E}" type="presOf" srcId="{188FD03C-7D6A-4D29-8FCB-9C1383057E36}" destId="{C08F212E-D010-4B1B-884C-243E8BB88BD2}" srcOrd="0" destOrd="0" presId="urn:microsoft.com/office/officeart/2005/8/layout/list1"/>
    <dgm:cxn modelId="{DA6324E2-FBEC-4854-BF09-EAC7862E2FF7}" type="presOf" srcId="{E4C7AF03-E2BD-4E48-8DAB-C1261D3D7EA9}" destId="{03DB856F-DE91-4CA0-AD05-B356DE21BFDC}" srcOrd="0" destOrd="0" presId="urn:microsoft.com/office/officeart/2005/8/layout/list1"/>
    <dgm:cxn modelId="{0812AA55-9D32-491F-8D73-FE58B51EC399}" type="presOf" srcId="{E4C7AF03-E2BD-4E48-8DAB-C1261D3D7EA9}" destId="{21D380AD-5D38-4835-9FB5-615E5454C686}" srcOrd="1" destOrd="0" presId="urn:microsoft.com/office/officeart/2005/8/layout/list1"/>
    <dgm:cxn modelId="{E5B37BC2-A485-49A3-B614-E063304C8A54}" srcId="{188FD03C-7D6A-4D29-8FCB-9C1383057E36}" destId="{E4C7AF03-E2BD-4E48-8DAB-C1261D3D7EA9}" srcOrd="0" destOrd="0" parTransId="{53E0B62A-B901-42B5-BC8F-972C93C53946}" sibTransId="{E528090D-E987-4CBE-A7D4-6D7D9028F1FC}"/>
    <dgm:cxn modelId="{3600EE1F-37E8-4483-917C-693C14D61C51}" type="presParOf" srcId="{C08F212E-D010-4B1B-884C-243E8BB88BD2}" destId="{A042C0D5-6636-40E8-83EA-703099528EDB}" srcOrd="0" destOrd="0" presId="urn:microsoft.com/office/officeart/2005/8/layout/list1"/>
    <dgm:cxn modelId="{CA322118-C2DB-4609-AB12-CEF8756720C0}" type="presParOf" srcId="{A042C0D5-6636-40E8-83EA-703099528EDB}" destId="{03DB856F-DE91-4CA0-AD05-B356DE21BFDC}" srcOrd="0" destOrd="0" presId="urn:microsoft.com/office/officeart/2005/8/layout/list1"/>
    <dgm:cxn modelId="{7E246F13-B67E-4675-B223-B8994CF5688A}" type="presParOf" srcId="{A042C0D5-6636-40E8-83EA-703099528EDB}" destId="{21D380AD-5D38-4835-9FB5-615E5454C686}" srcOrd="1" destOrd="0" presId="urn:microsoft.com/office/officeart/2005/8/layout/list1"/>
    <dgm:cxn modelId="{174DC003-C287-4F3D-9D47-17119EAC943B}" type="presParOf" srcId="{C08F212E-D010-4B1B-884C-243E8BB88BD2}" destId="{E77B3B8A-36B6-4AF7-9D59-DF889FA8E07C}" srcOrd="1" destOrd="0" presId="urn:microsoft.com/office/officeart/2005/8/layout/list1"/>
    <dgm:cxn modelId="{C095BFB3-8684-4219-BDC1-B827F21594F8}" type="presParOf" srcId="{C08F212E-D010-4B1B-884C-243E8BB88BD2}" destId="{DA4AD343-D282-460C-AE7C-23C5C97E29FD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98.xml><?xml version="1.0" encoding="utf-8"?>
<dgm:dataModel xmlns:dgm="http://schemas.openxmlformats.org/drawingml/2006/diagram" xmlns:a="http://schemas.openxmlformats.org/drawingml/2006/main">
  <dgm:ptLst>
    <dgm:pt modelId="{AAFE115A-0E6E-4C89-920C-1A4DDAA926EE}" type="doc">
      <dgm:prSet loTypeId="urn:microsoft.com/office/officeart/2005/8/layout/default#2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it-IT"/>
        </a:p>
      </dgm:t>
    </dgm:pt>
    <dgm:pt modelId="{DA91FA47-CC32-4D29-B94B-B9437EA66F9F}">
      <dgm:prSet/>
      <dgm:spPr/>
      <dgm:t>
        <a:bodyPr/>
        <a:lstStyle/>
        <a:p>
          <a:pPr rtl="0"/>
          <a:r>
            <a:rPr lang="it-IT" dirty="0" smtClean="0"/>
            <a:t>un </a:t>
          </a:r>
          <a:r>
            <a:rPr lang="it-IT" b="1" dirty="0" smtClean="0"/>
            <a:t>primo ambito </a:t>
          </a:r>
          <a:r>
            <a:rPr lang="it-IT" dirty="0" smtClean="0"/>
            <a:t>riguarda le componenti, i sistemi e i mezzi per il monitoraggio  degli ambienti marini, , la protezione delle coste, i servizi di intervento ambientale, la sorveglianza costiera e la sicurezza in mare</a:t>
          </a:r>
          <a:endParaRPr lang="it-IT" dirty="0"/>
        </a:p>
      </dgm:t>
    </dgm:pt>
    <dgm:pt modelId="{68A42DBE-FB45-459A-BDC4-CFC1827BECA0}" type="parTrans" cxnId="{59413D22-6809-4B6E-A6D7-7E0BF0BEC725}">
      <dgm:prSet/>
      <dgm:spPr/>
      <dgm:t>
        <a:bodyPr/>
        <a:lstStyle/>
        <a:p>
          <a:endParaRPr lang="it-IT"/>
        </a:p>
      </dgm:t>
    </dgm:pt>
    <dgm:pt modelId="{A4B1AC1A-C948-4BD6-B2BF-E2144D83E0BC}" type="sibTrans" cxnId="{59413D22-6809-4B6E-A6D7-7E0BF0BEC725}">
      <dgm:prSet/>
      <dgm:spPr/>
      <dgm:t>
        <a:bodyPr/>
        <a:lstStyle/>
        <a:p>
          <a:endParaRPr lang="it-IT"/>
        </a:p>
      </dgm:t>
    </dgm:pt>
    <dgm:pt modelId="{A5BA6B6E-19DD-439B-A1B8-8D44B7CAB2A0}">
      <dgm:prSet/>
      <dgm:spPr/>
      <dgm:t>
        <a:bodyPr/>
        <a:lstStyle/>
        <a:p>
          <a:pPr rtl="0"/>
          <a:r>
            <a:rPr lang="it-IT" dirty="0" smtClean="0"/>
            <a:t> un </a:t>
          </a:r>
          <a:r>
            <a:rPr lang="it-IT" b="1" dirty="0" smtClean="0"/>
            <a:t>secondo ambito </a:t>
          </a:r>
          <a:r>
            <a:rPr lang="it-IT" dirty="0" smtClean="0"/>
            <a:t>riguarda le componenti, i sistemi e i mezzi off-shore per lo sfruttamento delle risorse energetiche e geologiche in maniera sostenibile</a:t>
          </a:r>
          <a:endParaRPr lang="it-IT" dirty="0"/>
        </a:p>
      </dgm:t>
    </dgm:pt>
    <dgm:pt modelId="{78697078-F9E0-4EEC-B351-DE2438CCB328}" type="parTrans" cxnId="{D7335DDD-2D30-45F4-868A-E523570C6FD4}">
      <dgm:prSet/>
      <dgm:spPr/>
      <dgm:t>
        <a:bodyPr/>
        <a:lstStyle/>
        <a:p>
          <a:endParaRPr lang="it-IT"/>
        </a:p>
      </dgm:t>
    </dgm:pt>
    <dgm:pt modelId="{B350CC64-D3D9-4A36-BE11-1904E52C9DC4}" type="sibTrans" cxnId="{D7335DDD-2D30-45F4-868A-E523570C6FD4}">
      <dgm:prSet/>
      <dgm:spPr/>
      <dgm:t>
        <a:bodyPr/>
        <a:lstStyle/>
        <a:p>
          <a:endParaRPr lang="it-IT"/>
        </a:p>
      </dgm:t>
    </dgm:pt>
    <dgm:pt modelId="{3C692817-E8A7-44A9-BD04-EE3AA71B2485}">
      <dgm:prSet/>
      <dgm:spPr/>
      <dgm:t>
        <a:bodyPr/>
        <a:lstStyle/>
        <a:p>
          <a:pPr rtl="0"/>
          <a:r>
            <a:rPr lang="it-IT" dirty="0" smtClean="0"/>
            <a:t> un </a:t>
          </a:r>
          <a:r>
            <a:rPr lang="it-IT" b="1" dirty="0" smtClean="0"/>
            <a:t>terzo ambito </a:t>
          </a:r>
          <a:r>
            <a:rPr lang="it-IT" dirty="0" smtClean="0"/>
            <a:t>riguarda lo sviluppo tecnologico dei mezzi di trasporto per ambienti acquatici; </a:t>
          </a:r>
          <a:endParaRPr lang="it-IT" dirty="0"/>
        </a:p>
      </dgm:t>
    </dgm:pt>
    <dgm:pt modelId="{A80043D2-31C6-472E-8EBF-1B57CEFD2C2B}" type="parTrans" cxnId="{B390713D-F105-4F92-A94B-04DFF0E19BE0}">
      <dgm:prSet/>
      <dgm:spPr/>
      <dgm:t>
        <a:bodyPr/>
        <a:lstStyle/>
        <a:p>
          <a:endParaRPr lang="it-IT"/>
        </a:p>
      </dgm:t>
    </dgm:pt>
    <dgm:pt modelId="{FB5A814E-E00D-41F4-996A-291E5BC8245E}" type="sibTrans" cxnId="{B390713D-F105-4F92-A94B-04DFF0E19BE0}">
      <dgm:prSet/>
      <dgm:spPr/>
      <dgm:t>
        <a:bodyPr/>
        <a:lstStyle/>
        <a:p>
          <a:endParaRPr lang="it-IT"/>
        </a:p>
      </dgm:t>
    </dgm:pt>
    <dgm:pt modelId="{D5AA0532-B979-4919-AB2F-CE4F97082D95}">
      <dgm:prSet/>
      <dgm:spPr/>
      <dgm:t>
        <a:bodyPr/>
        <a:lstStyle/>
        <a:p>
          <a:pPr rtl="0"/>
          <a:r>
            <a:rPr lang="it-IT" smtClean="0"/>
            <a:t>un </a:t>
          </a:r>
          <a:r>
            <a:rPr lang="it-IT" b="1" dirty="0" smtClean="0"/>
            <a:t>quarto ambito </a:t>
          </a:r>
          <a:r>
            <a:rPr lang="it-IT" dirty="0" smtClean="0"/>
            <a:t>studio degli organismi viventi in ambiente marino finalizzato all’individuazione di nuove molecole con applicazioni industriali, in </a:t>
          </a:r>
          <a:r>
            <a:rPr lang="it-IT" dirty="0" err="1" smtClean="0"/>
            <a:t>special</a:t>
          </a:r>
          <a:r>
            <a:rPr lang="it-IT" dirty="0" smtClean="0"/>
            <a:t> modo negli ambiti scienze della vita, agroindustria e nuovi materiali.</a:t>
          </a:r>
          <a:endParaRPr lang="it-IT" dirty="0"/>
        </a:p>
      </dgm:t>
    </dgm:pt>
    <dgm:pt modelId="{56904BC9-A5AC-4F06-8270-3AA547EB7E84}" type="parTrans" cxnId="{AB895C47-EE28-4D10-8818-42B8F6CD71A3}">
      <dgm:prSet/>
      <dgm:spPr/>
    </dgm:pt>
    <dgm:pt modelId="{1357AB06-4A59-42D7-8429-A5D59CF11956}" type="sibTrans" cxnId="{AB895C47-EE28-4D10-8818-42B8F6CD71A3}">
      <dgm:prSet/>
      <dgm:spPr/>
    </dgm:pt>
    <dgm:pt modelId="{DE542C34-97AF-4D39-BFBE-354B27722422}" type="pres">
      <dgm:prSet presAssocID="{AAFE115A-0E6E-4C89-920C-1A4DDAA926E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BBE1CB6-F376-4AFD-B855-2417AB469536}" type="pres">
      <dgm:prSet presAssocID="{DA91FA47-CC32-4D29-B94B-B9437EA66F9F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427BE79-E94A-41B2-A7D6-6BC384EB7AB1}" type="pres">
      <dgm:prSet presAssocID="{A4B1AC1A-C948-4BD6-B2BF-E2144D83E0BC}" presName="sibTrans" presStyleCnt="0"/>
      <dgm:spPr/>
    </dgm:pt>
    <dgm:pt modelId="{C5944C47-5ED5-46AB-B2DE-DEFA4A2EEBC4}" type="pres">
      <dgm:prSet presAssocID="{A5BA6B6E-19DD-439B-A1B8-8D44B7CAB2A0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14D01390-8295-4DD6-9FB6-F21E6C7F974C}" type="pres">
      <dgm:prSet presAssocID="{B350CC64-D3D9-4A36-BE11-1904E52C9DC4}" presName="sibTrans" presStyleCnt="0"/>
      <dgm:spPr/>
    </dgm:pt>
    <dgm:pt modelId="{FC3705C6-21F2-4B22-9BC2-F7B3CB9F3441}" type="pres">
      <dgm:prSet presAssocID="{3C692817-E8A7-44A9-BD04-EE3AA71B2485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8110690-89D7-47A7-9CEF-7B85155C2C46}" type="pres">
      <dgm:prSet presAssocID="{FB5A814E-E00D-41F4-996A-291E5BC8245E}" presName="sibTrans" presStyleCnt="0"/>
      <dgm:spPr/>
    </dgm:pt>
    <dgm:pt modelId="{3BCF7C92-38B9-424C-9EA1-7AE6F16B07A6}" type="pres">
      <dgm:prSet presAssocID="{D5AA0532-B979-4919-AB2F-CE4F97082D95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59413D22-6809-4B6E-A6D7-7E0BF0BEC725}" srcId="{AAFE115A-0E6E-4C89-920C-1A4DDAA926EE}" destId="{DA91FA47-CC32-4D29-B94B-B9437EA66F9F}" srcOrd="0" destOrd="0" parTransId="{68A42DBE-FB45-459A-BDC4-CFC1827BECA0}" sibTransId="{A4B1AC1A-C948-4BD6-B2BF-E2144D83E0BC}"/>
    <dgm:cxn modelId="{0F8E6A4E-FA46-4512-8720-AF49B44A6D67}" type="presOf" srcId="{AAFE115A-0E6E-4C89-920C-1A4DDAA926EE}" destId="{DE542C34-97AF-4D39-BFBE-354B27722422}" srcOrd="0" destOrd="0" presId="urn:microsoft.com/office/officeart/2005/8/layout/default#2"/>
    <dgm:cxn modelId="{B390713D-F105-4F92-A94B-04DFF0E19BE0}" srcId="{AAFE115A-0E6E-4C89-920C-1A4DDAA926EE}" destId="{3C692817-E8A7-44A9-BD04-EE3AA71B2485}" srcOrd="2" destOrd="0" parTransId="{A80043D2-31C6-472E-8EBF-1B57CEFD2C2B}" sibTransId="{FB5A814E-E00D-41F4-996A-291E5BC8245E}"/>
    <dgm:cxn modelId="{F4A2586F-7BCD-4715-8F8B-7B5DDFDBB5DC}" type="presOf" srcId="{A5BA6B6E-19DD-439B-A1B8-8D44B7CAB2A0}" destId="{C5944C47-5ED5-46AB-B2DE-DEFA4A2EEBC4}" srcOrd="0" destOrd="0" presId="urn:microsoft.com/office/officeart/2005/8/layout/default#2"/>
    <dgm:cxn modelId="{AB895C47-EE28-4D10-8818-42B8F6CD71A3}" srcId="{AAFE115A-0E6E-4C89-920C-1A4DDAA926EE}" destId="{D5AA0532-B979-4919-AB2F-CE4F97082D95}" srcOrd="3" destOrd="0" parTransId="{56904BC9-A5AC-4F06-8270-3AA547EB7E84}" sibTransId="{1357AB06-4A59-42D7-8429-A5D59CF11956}"/>
    <dgm:cxn modelId="{04331153-5254-420D-B57B-CB3BE5E0E78F}" type="presOf" srcId="{3C692817-E8A7-44A9-BD04-EE3AA71B2485}" destId="{FC3705C6-21F2-4B22-9BC2-F7B3CB9F3441}" srcOrd="0" destOrd="0" presId="urn:microsoft.com/office/officeart/2005/8/layout/default#2"/>
    <dgm:cxn modelId="{5F02C0DC-85C3-4349-B989-35EBEB4EE4C8}" type="presOf" srcId="{D5AA0532-B979-4919-AB2F-CE4F97082D95}" destId="{3BCF7C92-38B9-424C-9EA1-7AE6F16B07A6}" srcOrd="0" destOrd="0" presId="urn:microsoft.com/office/officeart/2005/8/layout/default#2"/>
    <dgm:cxn modelId="{D7335DDD-2D30-45F4-868A-E523570C6FD4}" srcId="{AAFE115A-0E6E-4C89-920C-1A4DDAA926EE}" destId="{A5BA6B6E-19DD-439B-A1B8-8D44B7CAB2A0}" srcOrd="1" destOrd="0" parTransId="{78697078-F9E0-4EEC-B351-DE2438CCB328}" sibTransId="{B350CC64-D3D9-4A36-BE11-1904E52C9DC4}"/>
    <dgm:cxn modelId="{6D297322-E3C2-4E26-B363-860C8596B3DA}" type="presOf" srcId="{DA91FA47-CC32-4D29-B94B-B9437EA66F9F}" destId="{6BBE1CB6-F376-4AFD-B855-2417AB469536}" srcOrd="0" destOrd="0" presId="urn:microsoft.com/office/officeart/2005/8/layout/default#2"/>
    <dgm:cxn modelId="{21A02C95-E1F3-4973-BBE8-AE9FD9245462}" type="presParOf" srcId="{DE542C34-97AF-4D39-BFBE-354B27722422}" destId="{6BBE1CB6-F376-4AFD-B855-2417AB469536}" srcOrd="0" destOrd="0" presId="urn:microsoft.com/office/officeart/2005/8/layout/default#2"/>
    <dgm:cxn modelId="{43DE6F2E-9529-447B-8467-A2EF4F14C5A6}" type="presParOf" srcId="{DE542C34-97AF-4D39-BFBE-354B27722422}" destId="{4427BE79-E94A-41B2-A7D6-6BC384EB7AB1}" srcOrd="1" destOrd="0" presId="urn:microsoft.com/office/officeart/2005/8/layout/default#2"/>
    <dgm:cxn modelId="{73398425-597D-486C-9824-540DE40460B7}" type="presParOf" srcId="{DE542C34-97AF-4D39-BFBE-354B27722422}" destId="{C5944C47-5ED5-46AB-B2DE-DEFA4A2EEBC4}" srcOrd="2" destOrd="0" presId="urn:microsoft.com/office/officeart/2005/8/layout/default#2"/>
    <dgm:cxn modelId="{67AFC4EE-3055-406C-AC3F-7DEA9E396735}" type="presParOf" srcId="{DE542C34-97AF-4D39-BFBE-354B27722422}" destId="{14D01390-8295-4DD6-9FB6-F21E6C7F974C}" srcOrd="3" destOrd="0" presId="urn:microsoft.com/office/officeart/2005/8/layout/default#2"/>
    <dgm:cxn modelId="{1851F394-9CEB-49F8-880D-B3A54A25C21A}" type="presParOf" srcId="{DE542C34-97AF-4D39-BFBE-354B27722422}" destId="{FC3705C6-21F2-4B22-9BC2-F7B3CB9F3441}" srcOrd="4" destOrd="0" presId="urn:microsoft.com/office/officeart/2005/8/layout/default#2"/>
    <dgm:cxn modelId="{F72A54C0-086F-4AEA-A4B8-0CF348D5DC66}" type="presParOf" srcId="{DE542C34-97AF-4D39-BFBE-354B27722422}" destId="{A8110690-89D7-47A7-9CEF-7B85155C2C46}" srcOrd="5" destOrd="0" presId="urn:microsoft.com/office/officeart/2005/8/layout/default#2"/>
    <dgm:cxn modelId="{D5E06CD8-7319-4D7C-8E74-98EBC2C8DA6B}" type="presParOf" srcId="{DE542C34-97AF-4D39-BFBE-354B27722422}" destId="{3BCF7C92-38B9-424C-9EA1-7AE6F16B07A6}" srcOrd="6" destOrd="0" presId="urn:microsoft.com/office/officeart/2005/8/layout/default#2"/>
  </dgm:cxnLst>
  <dgm:bg/>
  <dgm:whole/>
  <dgm:extLst>
    <a:ext uri="http://schemas.microsoft.com/office/drawing/2008/diagram">
      <dsp:dataModelExt xmlns:dsp="http://schemas.microsoft.com/office/drawing/2008/diagram" relId="rId21" minVer="http://schemas.openxmlformats.org/drawingml/2006/diagram"/>
    </a:ext>
  </dgm:extLst>
</dgm:dataModel>
</file>

<file path=ppt/diagrams/data99.xml><?xml version="1.0" encoding="utf-8"?>
<dgm:dataModel xmlns:dgm="http://schemas.openxmlformats.org/drawingml/2006/diagram" xmlns:a="http://schemas.openxmlformats.org/drawingml/2006/main">
  <dgm:ptLst>
    <dgm:pt modelId="{9AF403A6-2C5C-4F1B-B787-47496D3DBC71}" type="doc">
      <dgm:prSet loTypeId="urn:microsoft.com/office/officeart/2005/8/layout/chevronAccent+Icon" loCatId="process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it-IT"/>
        </a:p>
      </dgm:t>
    </dgm:pt>
    <dgm:pt modelId="{72D59079-C521-4525-81A4-701D931A8233}">
      <dgm:prSet/>
      <dgm:spPr/>
      <dgm:t>
        <a:bodyPr/>
        <a:lstStyle/>
        <a:p>
          <a:pPr rtl="0"/>
          <a:r>
            <a:rPr lang="it-IT" b="1" dirty="0" smtClean="0"/>
            <a:t>Indicazioni di priorità per RIS3</a:t>
          </a:r>
          <a:endParaRPr lang="it-IT" b="1" dirty="0"/>
        </a:p>
      </dgm:t>
    </dgm:pt>
    <dgm:pt modelId="{1DEA343A-7566-48EE-930F-714F2066956D}" type="parTrans" cxnId="{740FA1F6-14FA-4528-BA9C-878E920E6890}">
      <dgm:prSet/>
      <dgm:spPr/>
      <dgm:t>
        <a:bodyPr/>
        <a:lstStyle/>
        <a:p>
          <a:endParaRPr lang="it-IT"/>
        </a:p>
      </dgm:t>
    </dgm:pt>
    <dgm:pt modelId="{D283E7EF-33E5-4940-A56A-9ED7164573E3}" type="sibTrans" cxnId="{740FA1F6-14FA-4528-BA9C-878E920E6890}">
      <dgm:prSet/>
      <dgm:spPr/>
      <dgm:t>
        <a:bodyPr/>
        <a:lstStyle/>
        <a:p>
          <a:endParaRPr lang="it-IT"/>
        </a:p>
      </dgm:t>
    </dgm:pt>
    <dgm:pt modelId="{639FA514-32E4-4E31-8688-3C040A3F30E9}" type="pres">
      <dgm:prSet presAssocID="{9AF403A6-2C5C-4F1B-B787-47496D3DBC7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F100BA9B-D4E3-421F-B5D8-42E4C50A115C}" type="pres">
      <dgm:prSet presAssocID="{72D59079-C521-4525-81A4-701D931A8233}" presName="composite" presStyleCnt="0"/>
      <dgm:spPr/>
    </dgm:pt>
    <dgm:pt modelId="{51AD98A5-0898-43D1-8FB1-9AA58104A73C}" type="pres">
      <dgm:prSet presAssocID="{72D59079-C521-4525-81A4-701D931A8233}" presName="bgChev" presStyleLbl="node1" presStyleIdx="0" presStyleCnt="1"/>
      <dgm:spPr/>
      <dgm:t>
        <a:bodyPr/>
        <a:lstStyle/>
        <a:p>
          <a:endParaRPr lang="it-IT"/>
        </a:p>
      </dgm:t>
    </dgm:pt>
    <dgm:pt modelId="{9CE9EFE3-4E69-404A-8A99-59388A9E3922}" type="pres">
      <dgm:prSet presAssocID="{72D59079-C521-4525-81A4-701D931A8233}" presName="txNode" presStyleLbl="fgAcc1" presStyleIdx="0" presStyleCnt="1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DB753102-E008-4756-95F7-C053C6BFA308}" type="presOf" srcId="{72D59079-C521-4525-81A4-701D931A8233}" destId="{9CE9EFE3-4E69-404A-8A99-59388A9E3922}" srcOrd="0" destOrd="0" presId="urn:microsoft.com/office/officeart/2005/8/layout/chevronAccent+Icon"/>
    <dgm:cxn modelId="{740FA1F6-14FA-4528-BA9C-878E920E6890}" srcId="{9AF403A6-2C5C-4F1B-B787-47496D3DBC71}" destId="{72D59079-C521-4525-81A4-701D931A8233}" srcOrd="0" destOrd="0" parTransId="{1DEA343A-7566-48EE-930F-714F2066956D}" sibTransId="{D283E7EF-33E5-4940-A56A-9ED7164573E3}"/>
    <dgm:cxn modelId="{546A9174-9153-43A1-B51E-DD722A78A340}" type="presOf" srcId="{9AF403A6-2C5C-4F1B-B787-47496D3DBC71}" destId="{639FA514-32E4-4E31-8688-3C040A3F30E9}" srcOrd="0" destOrd="0" presId="urn:microsoft.com/office/officeart/2005/8/layout/chevronAccent+Icon"/>
    <dgm:cxn modelId="{C2180F4C-5EEF-444D-AAF9-C4356E237DD0}" type="presParOf" srcId="{639FA514-32E4-4E31-8688-3C040A3F30E9}" destId="{F100BA9B-D4E3-421F-B5D8-42E4C50A115C}" srcOrd="0" destOrd="0" presId="urn:microsoft.com/office/officeart/2005/8/layout/chevronAccent+Icon"/>
    <dgm:cxn modelId="{F70075C8-9A20-47C5-AB3E-DE11F7D7853A}" type="presParOf" srcId="{F100BA9B-D4E3-421F-B5D8-42E4C50A115C}" destId="{51AD98A5-0898-43D1-8FB1-9AA58104A73C}" srcOrd="0" destOrd="0" presId="urn:microsoft.com/office/officeart/2005/8/layout/chevronAccent+Icon"/>
    <dgm:cxn modelId="{01823C30-B441-4394-A1AA-7F8724BC422D}" type="presParOf" srcId="{F100BA9B-D4E3-421F-B5D8-42E4C50A115C}" destId="{9CE9EFE3-4E69-404A-8A99-59388A9E3922}" srcOrd="1" destOrd="0" presId="urn:microsoft.com/office/officeart/2005/8/layout/chevronAccent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Chi siamo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2835D1-122D-4027-AADC-8E33108B9F24}">
      <dsp:nvSpPr>
        <dsp:cNvPr id="0" name=""/>
        <dsp:cNvSpPr/>
      </dsp:nvSpPr>
      <dsp:spPr>
        <a:xfrm>
          <a:off x="4963" y="1477"/>
          <a:ext cx="2122042" cy="836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Definizione piano di lavoro (in presenza)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8-9 maggio 2014</a:t>
          </a:r>
          <a:endParaRPr lang="it-IT" sz="1800" kern="1200" dirty="0"/>
        </a:p>
      </dsp:txBody>
      <dsp:txXfrm>
        <a:off x="4963" y="1477"/>
        <a:ext cx="2122042" cy="836860"/>
      </dsp:txXfrm>
    </dsp:sp>
  </dsp:spTree>
</dsp:drawing>
</file>

<file path=ppt/diagrams/drawing10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1EB9E4-34F5-45B6-A4D0-AAEC6E0F51AF}">
      <dsp:nvSpPr>
        <dsp:cNvPr id="0" name=""/>
        <dsp:cNvSpPr/>
      </dsp:nvSpPr>
      <dsp:spPr>
        <a:xfrm>
          <a:off x="26685" y="120628"/>
          <a:ext cx="8083533" cy="6042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b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In questi quattro ambiti, la più limitata base produttiva con un orientamento tecnologico forte e le più ristrette evidenze di </a:t>
          </a:r>
          <a:r>
            <a:rPr lang="it-IT" sz="1800" i="1" kern="1200" dirty="0" smtClean="0"/>
            <a:t>performance</a:t>
          </a:r>
          <a:r>
            <a:rPr lang="it-IT" sz="1800" kern="1200" dirty="0" smtClean="0"/>
            <a:t> fornite dai centri di competenza attivi, spingono a ritenere che la Sicilia potrà ragionevolmente giocare in un orizzonte temporale lungo un ruolo di </a:t>
          </a:r>
          <a:r>
            <a:rPr lang="it-IT" sz="1800" i="1" kern="1200" dirty="0" err="1" smtClean="0"/>
            <a:t>follower</a:t>
          </a:r>
          <a:r>
            <a:rPr lang="it-IT" sz="1800" kern="1200" dirty="0" smtClean="0"/>
            <a:t> ma non di leader. </a:t>
          </a:r>
          <a:endParaRPr lang="it-IT" sz="1800" b="1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26685" y="120628"/>
        <a:ext cx="8083533" cy="604276"/>
      </dsp:txXfrm>
    </dsp:sp>
    <dsp:sp modelId="{B50886CF-3969-4785-A7A6-C5609CC6D808}">
      <dsp:nvSpPr>
        <dsp:cNvPr id="0" name=""/>
        <dsp:cNvSpPr/>
      </dsp:nvSpPr>
      <dsp:spPr>
        <a:xfrm>
          <a:off x="26685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EB10AC0-88E5-41BC-A849-543314CF3CF1}">
      <dsp:nvSpPr>
        <dsp:cNvPr id="0" name=""/>
        <dsp:cNvSpPr/>
      </dsp:nvSpPr>
      <dsp:spPr>
        <a:xfrm>
          <a:off x="1059062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C1C24A-06C7-4381-9163-0178FB1F1B50}">
      <dsp:nvSpPr>
        <dsp:cNvPr id="0" name=""/>
        <dsp:cNvSpPr/>
      </dsp:nvSpPr>
      <dsp:spPr>
        <a:xfrm>
          <a:off x="2091440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F6FA8C-113B-4D7B-A493-99A38ADCE753}">
      <dsp:nvSpPr>
        <dsp:cNvPr id="0" name=""/>
        <dsp:cNvSpPr/>
      </dsp:nvSpPr>
      <dsp:spPr>
        <a:xfrm>
          <a:off x="3123818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636013-F4FF-446C-AC51-028DC8B2E03F}">
      <dsp:nvSpPr>
        <dsp:cNvPr id="0" name=""/>
        <dsp:cNvSpPr/>
      </dsp:nvSpPr>
      <dsp:spPr>
        <a:xfrm>
          <a:off x="4156195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49C57F-D2A8-486B-91E1-D6A55A724EED}">
      <dsp:nvSpPr>
        <dsp:cNvPr id="0" name=""/>
        <dsp:cNvSpPr/>
      </dsp:nvSpPr>
      <dsp:spPr>
        <a:xfrm>
          <a:off x="5188573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7218534-1A5D-43C3-A464-E2697B1B81C6}">
      <dsp:nvSpPr>
        <dsp:cNvPr id="0" name=""/>
        <dsp:cNvSpPr/>
      </dsp:nvSpPr>
      <dsp:spPr>
        <a:xfrm>
          <a:off x="6220950" y="724904"/>
          <a:ext cx="975474" cy="162579"/>
        </a:xfrm>
        <a:prstGeom prst="parallelogram">
          <a:avLst>
            <a:gd name="adj" fmla="val 14084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10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180432"/>
          <a:ext cx="1872208" cy="45521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93518" y="12422"/>
          <a:ext cx="1309265" cy="46321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6" tIns="0" rIns="49536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3. Indicazioni di Priorità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16130" y="35034"/>
        <a:ext cx="1264041" cy="417986"/>
      </dsp:txXfrm>
    </dsp:sp>
  </dsp:spTree>
</dsp:drawing>
</file>

<file path=ppt/diagrams/drawing10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771866-0E7E-40E8-9B03-00BA53681255}">
      <dsp:nvSpPr>
        <dsp:cNvPr id="0" name=""/>
        <dsp:cNvSpPr/>
      </dsp:nvSpPr>
      <dsp:spPr>
        <a:xfrm>
          <a:off x="0" y="23661"/>
          <a:ext cx="7056784" cy="91798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/>
            <a:t>opportunità di promuovere </a:t>
          </a:r>
          <a:r>
            <a:rPr lang="it-IT" sz="1600" kern="1200" dirty="0" smtClean="0"/>
            <a:t>in tali ambiti una competizione virtuosa tra le aggregazioni esistenti ai fini dell’allocazione delle risorse finanziarie necessarie a supportare i percorsi attivati</a:t>
          </a:r>
          <a:endParaRPr lang="it-IT" sz="1600" kern="1200" dirty="0"/>
        </a:p>
      </dsp:txBody>
      <dsp:txXfrm>
        <a:off x="44813" y="68474"/>
        <a:ext cx="6967158" cy="828363"/>
      </dsp:txXfrm>
    </dsp:sp>
    <dsp:sp modelId="{82D75A39-FE5C-4C8C-9EA5-CF93427C462A}">
      <dsp:nvSpPr>
        <dsp:cNvPr id="0" name=""/>
        <dsp:cNvSpPr/>
      </dsp:nvSpPr>
      <dsp:spPr>
        <a:xfrm>
          <a:off x="0" y="1011392"/>
          <a:ext cx="7056784" cy="137475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/>
            <a:t>consolidamento dei distretti tecnologici attivi </a:t>
          </a:r>
          <a:r>
            <a:rPr lang="it-IT" sz="1600" kern="1200" dirty="0" smtClean="0"/>
            <a:t>legato alla capacità che i partner delle aggregazioni dimostreranno di tessere fitte relazioni di cooperazione scientifica e industriale con i soggetti che operano nelle aree tecnologiche individuate come prioritarie, in un rapporto di crescente complementarità che dovrà alimentare i rispettivi processi di crescita</a:t>
          </a:r>
          <a:endParaRPr lang="it-IT" sz="1600" kern="1200" dirty="0"/>
        </a:p>
      </dsp:txBody>
      <dsp:txXfrm>
        <a:off x="67110" y="1078502"/>
        <a:ext cx="6922564" cy="1240530"/>
      </dsp:txXfrm>
    </dsp:sp>
  </dsp:spTree>
</dsp:drawing>
</file>

<file path=ppt/diagrams/drawing10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867A7D-84CC-4ABF-B0E6-DF9F283923CF}">
      <dsp:nvSpPr>
        <dsp:cNvPr id="0" name=""/>
        <dsp:cNvSpPr/>
      </dsp:nvSpPr>
      <dsp:spPr>
        <a:xfrm>
          <a:off x="2790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Impegni e scadenze</a:t>
          </a:r>
          <a:endParaRPr lang="it-IT" sz="2000" kern="1200" dirty="0"/>
        </a:p>
      </dsp:txBody>
      <dsp:txXfrm>
        <a:off x="2790" y="470605"/>
        <a:ext cx="2720552" cy="1088220"/>
      </dsp:txXfrm>
    </dsp:sp>
    <dsp:sp modelId="{1BD922C1-C6AF-40E3-BC00-4A2C5AD342A7}">
      <dsp:nvSpPr>
        <dsp:cNvPr id="0" name=""/>
        <dsp:cNvSpPr/>
      </dsp:nvSpPr>
      <dsp:spPr>
        <a:xfrm>
          <a:off x="2790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800" kern="1200" dirty="0" smtClean="0"/>
            <a:t>Condivisione piano di lavoro </a:t>
          </a:r>
          <a:endParaRPr lang="it-IT" sz="2800" kern="1200" dirty="0"/>
        </a:p>
      </dsp:txBody>
      <dsp:txXfrm>
        <a:off x="2790" y="1558826"/>
        <a:ext cx="2720552" cy="2810880"/>
      </dsp:txXfrm>
    </dsp:sp>
    <dsp:sp modelId="{7F2A340E-59E4-4175-8854-BFDFADCB71D4}">
      <dsp:nvSpPr>
        <dsp:cNvPr id="0" name=""/>
        <dsp:cNvSpPr/>
      </dsp:nvSpPr>
      <dsp:spPr>
        <a:xfrm>
          <a:off x="3104219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Format contributi </a:t>
          </a:r>
          <a:endParaRPr lang="it-IT" sz="2400" kern="1200" dirty="0"/>
        </a:p>
      </dsp:txBody>
      <dsp:txXfrm>
        <a:off x="3104219" y="470605"/>
        <a:ext cx="2720552" cy="1088220"/>
      </dsp:txXfrm>
    </dsp:sp>
    <dsp:sp modelId="{94513309-A0E9-4D0F-A5A0-10C1399E3A82}">
      <dsp:nvSpPr>
        <dsp:cNvPr id="0" name=""/>
        <dsp:cNvSpPr/>
      </dsp:nvSpPr>
      <dsp:spPr>
        <a:xfrm>
          <a:off x="3104219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99136" bIns="224028" numCol="1" spcCol="1270" anchor="t" anchorCtr="0">
          <a:noAutofit/>
        </a:bodyPr>
        <a:lstStyle/>
        <a:p>
          <a:pPr marL="285750" lvl="1" indent="-285750" algn="l" defTabSz="1244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800" kern="1200" dirty="0" smtClean="0"/>
            <a:t>Presentazione e chiarimenti per la compilazione del format</a:t>
          </a:r>
          <a:endParaRPr lang="it-IT" sz="2800" kern="1200" dirty="0"/>
        </a:p>
      </dsp:txBody>
      <dsp:txXfrm>
        <a:off x="3104219" y="1558826"/>
        <a:ext cx="2720552" cy="2810880"/>
      </dsp:txXfrm>
    </dsp:sp>
    <dsp:sp modelId="{A49B64DD-D913-4BEC-83CF-83365F2FB831}">
      <dsp:nvSpPr>
        <dsp:cNvPr id="0" name=""/>
        <dsp:cNvSpPr/>
      </dsp:nvSpPr>
      <dsp:spPr>
        <a:xfrm>
          <a:off x="6208439" y="470605"/>
          <a:ext cx="2720552" cy="108822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rumenti e modalità di lavoro</a:t>
          </a:r>
          <a:endParaRPr lang="it-IT" sz="2400" kern="1200" dirty="0"/>
        </a:p>
      </dsp:txBody>
      <dsp:txXfrm>
        <a:off x="6208439" y="470605"/>
        <a:ext cx="2720552" cy="1088220"/>
      </dsp:txXfrm>
    </dsp:sp>
    <dsp:sp modelId="{5E16153D-110E-4957-9859-E9281CCD6FF8}">
      <dsp:nvSpPr>
        <dsp:cNvPr id="0" name=""/>
        <dsp:cNvSpPr/>
      </dsp:nvSpPr>
      <dsp:spPr>
        <a:xfrm>
          <a:off x="6205649" y="1558826"/>
          <a:ext cx="2720552" cy="28108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Forum discussione http://www.innovatoripa.it/groups/strategia-innovazione-sicilia</a:t>
          </a:r>
          <a:endParaRPr lang="it-IT" sz="2400" kern="1200" dirty="0"/>
        </a:p>
      </dsp:txBody>
      <dsp:txXfrm>
        <a:off x="6205649" y="1558826"/>
        <a:ext cx="2720552" cy="2810880"/>
      </dsp:txXfrm>
    </dsp:sp>
  </dsp:spTree>
</dsp:drawing>
</file>

<file path=ppt/diagrams/drawing10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49B64DD-D913-4BEC-83CF-83365F2FB831}">
      <dsp:nvSpPr>
        <dsp:cNvPr id="0" name=""/>
        <dsp:cNvSpPr/>
      </dsp:nvSpPr>
      <dsp:spPr>
        <a:xfrm>
          <a:off x="0" y="38557"/>
          <a:ext cx="8928992" cy="14976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rumenti e modalità di lavoro</a:t>
          </a:r>
          <a:endParaRPr lang="it-IT" sz="2400" kern="1200" dirty="0"/>
        </a:p>
      </dsp:txBody>
      <dsp:txXfrm>
        <a:off x="0" y="38557"/>
        <a:ext cx="8928992" cy="1497600"/>
      </dsp:txXfrm>
    </dsp:sp>
    <dsp:sp modelId="{5E16153D-110E-4957-9859-E9281CCD6FF8}">
      <dsp:nvSpPr>
        <dsp:cNvPr id="0" name=""/>
        <dsp:cNvSpPr/>
      </dsp:nvSpPr>
      <dsp:spPr>
        <a:xfrm>
          <a:off x="0" y="1536157"/>
          <a:ext cx="8928992" cy="256932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128016" rIns="170688" bIns="192024" numCol="1" spcCol="1270" anchor="t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Comunità su </a:t>
          </a:r>
          <a:r>
            <a:rPr lang="it-IT" sz="2400" kern="1200" dirty="0" err="1" smtClean="0"/>
            <a:t>InnovatoriPA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Download documenti (Slide tavolo, Slide Esperto, Piano lavoro, Format contributo)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Caricamento contributo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Invio commenti </a:t>
          </a:r>
          <a:endParaRPr lang="it-IT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400" kern="1200" dirty="0" smtClean="0"/>
            <a:t>E-mail invio allegati: strategia.innovazione@regione.sicilia.it</a:t>
          </a:r>
          <a:endParaRPr lang="it-IT" sz="2400" kern="1200" dirty="0"/>
        </a:p>
      </dsp:txBody>
      <dsp:txXfrm>
        <a:off x="0" y="1536157"/>
        <a:ext cx="8928992" cy="2569320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CC59A-ED65-4B0D-9470-3F18E593A142}">
      <dsp:nvSpPr>
        <dsp:cNvPr id="0" name=""/>
        <dsp:cNvSpPr/>
      </dsp:nvSpPr>
      <dsp:spPr>
        <a:xfrm>
          <a:off x="0" y="0"/>
          <a:ext cx="7574833" cy="0"/>
        </a:xfrm>
        <a:prstGeom prst="lin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4F97BB-80AE-4B89-8B32-FB05A53BD028}">
      <dsp:nvSpPr>
        <dsp:cNvPr id="0" name=""/>
        <dsp:cNvSpPr/>
      </dsp:nvSpPr>
      <dsp:spPr>
        <a:xfrm>
          <a:off x="0" y="0"/>
          <a:ext cx="7574833" cy="729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800" b="1" i="0" kern="1200" dirty="0">
            <a:solidFill>
              <a:srgbClr val="C00000"/>
            </a:solidFill>
          </a:endParaRPr>
        </a:p>
      </dsp:txBody>
      <dsp:txXfrm>
        <a:off x="0" y="0"/>
        <a:ext cx="7574833" cy="729762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434D6D-2122-4A51-877E-06D18981102B}">
      <dsp:nvSpPr>
        <dsp:cNvPr id="0" name=""/>
        <dsp:cNvSpPr/>
      </dsp:nvSpPr>
      <dsp:spPr>
        <a:xfrm>
          <a:off x="3655797" y="0"/>
          <a:ext cx="1817686" cy="3417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Biotecnologie</a:t>
          </a:r>
          <a:endParaRPr lang="it-IT" sz="1300" kern="1200" dirty="0"/>
        </a:p>
      </dsp:txBody>
      <dsp:txXfrm>
        <a:off x="3672479" y="16682"/>
        <a:ext cx="1784322" cy="308372"/>
      </dsp:txXfrm>
    </dsp:sp>
    <dsp:sp modelId="{B48349C0-DA42-45C1-A305-A31ACB3E56FA}">
      <dsp:nvSpPr>
        <dsp:cNvPr id="0" name=""/>
        <dsp:cNvSpPr/>
      </dsp:nvSpPr>
      <dsp:spPr>
        <a:xfrm>
          <a:off x="3611886" y="200819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838273" y="3282"/>
              </a:moveTo>
              <a:arcTo wR="1951418" hR="1951418" stAng="16000565" swAng="427159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C538DC-7B9C-4F13-B5F1-2B31B455CDEC}">
      <dsp:nvSpPr>
        <dsp:cNvPr id="0" name=""/>
        <dsp:cNvSpPr/>
      </dsp:nvSpPr>
      <dsp:spPr>
        <a:xfrm>
          <a:off x="7510984" y="1955458"/>
          <a:ext cx="824557" cy="6728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ICT</a:t>
          </a:r>
          <a:endParaRPr lang="it-IT" sz="1300" kern="1200" dirty="0"/>
        </a:p>
      </dsp:txBody>
      <dsp:txXfrm>
        <a:off x="7543828" y="1988302"/>
        <a:ext cx="758869" cy="607115"/>
      </dsp:txXfrm>
    </dsp:sp>
    <dsp:sp modelId="{C398BA1F-BFAB-4EDA-A553-016DA6A23E7D}">
      <dsp:nvSpPr>
        <dsp:cNvPr id="0" name=""/>
        <dsp:cNvSpPr/>
      </dsp:nvSpPr>
      <dsp:spPr>
        <a:xfrm>
          <a:off x="4028202" y="800213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3836399" y="2456272"/>
              </a:moveTo>
              <a:arcTo wR="1951418" hR="1951418" stAng="22499617" swAng="428526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D6D01E9-C592-4F2E-AB82-072A02D0A479}">
      <dsp:nvSpPr>
        <dsp:cNvPr id="0" name=""/>
        <dsp:cNvSpPr/>
      </dsp:nvSpPr>
      <dsp:spPr>
        <a:xfrm>
          <a:off x="3655785" y="4564324"/>
          <a:ext cx="1817686" cy="52524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Innovazione sociale</a:t>
          </a:r>
          <a:endParaRPr lang="it-IT" sz="1300" kern="1200" dirty="0"/>
        </a:p>
      </dsp:txBody>
      <dsp:txXfrm>
        <a:off x="3681425" y="4589964"/>
        <a:ext cx="1766406" cy="473966"/>
      </dsp:txXfrm>
    </dsp:sp>
    <dsp:sp modelId="{F7BAADD9-C75B-4898-B52D-48E4B788C62A}">
      <dsp:nvSpPr>
        <dsp:cNvPr id="0" name=""/>
        <dsp:cNvSpPr/>
      </dsp:nvSpPr>
      <dsp:spPr>
        <a:xfrm>
          <a:off x="1351505" y="777483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762600" y="3893680"/>
              </a:moveTo>
              <a:arcTo wR="1951418" hR="1951418" stAng="5733156" swAng="3384416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86B33B-544F-4FEE-A7F7-198130F517DF}">
      <dsp:nvSpPr>
        <dsp:cNvPr id="0" name=""/>
        <dsp:cNvSpPr/>
      </dsp:nvSpPr>
      <dsp:spPr>
        <a:xfrm>
          <a:off x="864104" y="1955464"/>
          <a:ext cx="934072" cy="118149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p3d prstMaterial="plastic">
          <a:bevelT w="50800" h="50800"/>
          <a:bevelB w="50800" h="508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Micro elettronica</a:t>
          </a:r>
          <a:endParaRPr lang="it-IT" sz="1300" kern="1200" dirty="0"/>
        </a:p>
      </dsp:txBody>
      <dsp:txXfrm>
        <a:off x="909702" y="2001062"/>
        <a:ext cx="842876" cy="1090300"/>
      </dsp:txXfrm>
    </dsp:sp>
    <dsp:sp modelId="{00526382-6092-453E-9B7B-82B351DD0AD1}">
      <dsp:nvSpPr>
        <dsp:cNvPr id="0" name=""/>
        <dsp:cNvSpPr/>
      </dsp:nvSpPr>
      <dsp:spPr>
        <a:xfrm>
          <a:off x="1798177" y="252786"/>
          <a:ext cx="3902836" cy="3902836"/>
        </a:xfrm>
        <a:custGeom>
          <a:avLst/>
          <a:gdLst/>
          <a:ahLst/>
          <a:cxnLst/>
          <a:rect l="0" t="0" r="0" b="0"/>
          <a:pathLst>
            <a:path>
              <a:moveTo>
                <a:pt x="100781" y="1332404"/>
              </a:moveTo>
              <a:arcTo wR="1951418" hR="1951418" stAng="11909665" swAng="4224527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  <a:sp3d z="-25400" prstMaterial="plastic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Modalità di lavoro (3)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3585872" y="-370214"/>
          <a:ext cx="4968544" cy="57089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Attenzione ai tempi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Comprendere come lavorare più che discutere del merit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Stare sul tema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Interventi operativi (escluse premesse)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Non sovrapporsi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Non ripetersi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5657" y="242545"/>
        <a:ext cx="5466430" cy="4483456"/>
      </dsp:txXfrm>
    </dsp:sp>
    <dsp:sp modelId="{4B75031E-EAE2-44AE-A204-79AAE3CD8BF2}">
      <dsp:nvSpPr>
        <dsp:cNvPr id="0" name=""/>
        <dsp:cNvSpPr/>
      </dsp:nvSpPr>
      <dsp:spPr>
        <a:xfrm>
          <a:off x="4359" y="0"/>
          <a:ext cx="3211298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Le regole del confronto</a:t>
          </a:r>
          <a:endParaRPr lang="it-IT" sz="4400" b="1" kern="1200" dirty="0"/>
        </a:p>
      </dsp:txBody>
      <dsp:txXfrm>
        <a:off x="161122" y="156763"/>
        <a:ext cx="2897772" cy="4650173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Modalità di lavoro (4)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3585872" y="-370214"/>
          <a:ext cx="4968544" cy="570897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centrato sulle indicazione dei potenziali ambiti di specializzazione rispetto al tavolo tematic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giustificato dalle evidenze, dalle scoperte imprenditoriali e dalle conoscenze possedute dagli attori 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5657" y="242545"/>
        <a:ext cx="5466430" cy="4483456"/>
      </dsp:txXfrm>
    </dsp:sp>
    <dsp:sp modelId="{4B75031E-EAE2-44AE-A204-79AAE3CD8BF2}">
      <dsp:nvSpPr>
        <dsp:cNvPr id="0" name=""/>
        <dsp:cNvSpPr/>
      </dsp:nvSpPr>
      <dsp:spPr>
        <a:xfrm>
          <a:off x="4359" y="0"/>
          <a:ext cx="3211298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Il </a:t>
          </a:r>
          <a:r>
            <a:rPr lang="it-IT" sz="4400" b="1" kern="1200" dirty="0" err="1" smtClean="0"/>
            <a:t>contributorichiesto</a:t>
          </a:r>
          <a:r>
            <a:rPr lang="it-IT" sz="4400" b="1" kern="1200" dirty="0" smtClean="0"/>
            <a:t> deve essere....</a:t>
          </a:r>
          <a:endParaRPr lang="it-IT" sz="4400" b="1" kern="1200" dirty="0"/>
        </a:p>
      </dsp:txBody>
      <dsp:txXfrm>
        <a:off x="161122" y="156763"/>
        <a:ext cx="2897772" cy="4650173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7272808" cy="36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1">
                  <a:lumMod val="75000"/>
                </a:schemeClr>
              </a:solidFill>
            </a:rPr>
            <a:t>Avvio Tavoli Tematici</a:t>
          </a:r>
          <a:endParaRPr lang="it-IT" sz="17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7272808" cy="369332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712879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7128792" cy="36933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1">
                  <a:lumMod val="75000"/>
                </a:schemeClr>
              </a:solidFill>
            </a:rPr>
            <a:t>Ambiti di Specializzazione del Tavolo Tematico</a:t>
          </a:r>
          <a:endParaRPr lang="it-IT" sz="17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7128792" cy="369332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2A1584-12A4-45C1-ACD7-958A7385C148}">
      <dsp:nvSpPr>
        <dsp:cNvPr id="0" name=""/>
        <dsp:cNvSpPr/>
      </dsp:nvSpPr>
      <dsp:spPr>
        <a:xfrm>
          <a:off x="344249" y="146854"/>
          <a:ext cx="1730971" cy="1730971"/>
        </a:xfrm>
        <a:prstGeom prst="pie">
          <a:avLst>
            <a:gd name="adj1" fmla="val 16200000"/>
            <a:gd name="adj2" fmla="val 54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Primo progress</a:t>
          </a:r>
          <a:endParaRPr lang="it-IT" sz="1300" kern="1200" dirty="0"/>
        </a:p>
      </dsp:txBody>
      <dsp:txXfrm>
        <a:off x="1290101" y="600204"/>
        <a:ext cx="618204" cy="824272"/>
      </dsp:txXfrm>
    </dsp:sp>
    <dsp:sp modelId="{911D987E-41D9-4858-92D0-BAC1D4352876}">
      <dsp:nvSpPr>
        <dsp:cNvPr id="0" name=""/>
        <dsp:cNvSpPr/>
      </dsp:nvSpPr>
      <dsp:spPr>
        <a:xfrm>
          <a:off x="261822" y="146854"/>
          <a:ext cx="1730971" cy="1730971"/>
        </a:xfrm>
        <a:prstGeom prst="pie">
          <a:avLst>
            <a:gd name="adj1" fmla="val 5400000"/>
            <a:gd name="adj2" fmla="val 1620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Secondo progress</a:t>
          </a:r>
          <a:endParaRPr lang="it-IT" sz="1300" kern="1200" dirty="0"/>
        </a:p>
      </dsp:txBody>
      <dsp:txXfrm>
        <a:off x="428737" y="600204"/>
        <a:ext cx="618204" cy="824272"/>
      </dsp:txXfrm>
    </dsp:sp>
    <dsp:sp modelId="{091889A5-5D1D-4DA7-941E-C8B05D965E22}">
      <dsp:nvSpPr>
        <dsp:cNvPr id="0" name=""/>
        <dsp:cNvSpPr/>
      </dsp:nvSpPr>
      <dsp:spPr>
        <a:xfrm>
          <a:off x="237094" y="39699"/>
          <a:ext cx="1945281" cy="1945281"/>
        </a:xfrm>
        <a:prstGeom prst="circularArrow">
          <a:avLst>
            <a:gd name="adj1" fmla="val 5085"/>
            <a:gd name="adj2" fmla="val 327528"/>
            <a:gd name="adj3" fmla="val 5072472"/>
            <a:gd name="adj4" fmla="val 16200000"/>
            <a:gd name="adj5" fmla="val 5932"/>
          </a:avLst>
        </a:prstGeom>
        <a:solidFill>
          <a:schemeClr val="accent6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A0F59F-4621-418C-96D7-0810ADA847CA}">
      <dsp:nvSpPr>
        <dsp:cNvPr id="0" name=""/>
        <dsp:cNvSpPr/>
      </dsp:nvSpPr>
      <dsp:spPr>
        <a:xfrm>
          <a:off x="154666" y="39699"/>
          <a:ext cx="1945281" cy="1945281"/>
        </a:xfrm>
        <a:prstGeom prst="circularArrow">
          <a:avLst>
            <a:gd name="adj1" fmla="val 5085"/>
            <a:gd name="adj2" fmla="val 327528"/>
            <a:gd name="adj3" fmla="val 15872472"/>
            <a:gd name="adj4" fmla="val 5400000"/>
            <a:gd name="adj5" fmla="val 5932"/>
          </a:avLst>
        </a:prstGeom>
        <a:solidFill>
          <a:schemeClr val="accent6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2340748" y="-395555"/>
          <a:ext cx="3040486" cy="3943311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Referenti </a:t>
          </a:r>
          <a:r>
            <a:rPr lang="it-IT" sz="2000" b="0" kern="1200" dirty="0" err="1" smtClean="0">
              <a:solidFill>
                <a:schemeClr val="accent1"/>
              </a:solidFill>
            </a:rPr>
            <a:t>GdL</a:t>
          </a:r>
          <a:r>
            <a:rPr lang="it-IT" sz="2000" b="0" kern="1200" dirty="0" smtClean="0">
              <a:solidFill>
                <a:schemeClr val="accent1"/>
              </a:solidFill>
            </a:rPr>
            <a:t> </a:t>
          </a:r>
          <a:r>
            <a:rPr lang="it-IT" sz="2000" b="0" kern="1200" dirty="0" err="1" smtClean="0">
              <a:solidFill>
                <a:schemeClr val="accent1"/>
              </a:solidFill>
            </a:rPr>
            <a:t>interdiscipinare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Referenti Dipartimenti regionali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Esperti nazionali </a:t>
          </a:r>
          <a:r>
            <a:rPr lang="it-IT" sz="2000" b="0" kern="1200" dirty="0" err="1" smtClean="0">
              <a:solidFill>
                <a:schemeClr val="accent1"/>
              </a:solidFill>
            </a:rPr>
            <a:t>MiSE</a:t>
          </a:r>
          <a:r>
            <a:rPr lang="it-IT" sz="2000" b="0" kern="1200" dirty="0" smtClean="0">
              <a:solidFill>
                <a:schemeClr val="accent1"/>
              </a:solidFill>
            </a:rPr>
            <a:t> - MIUR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chemeClr val="accent1"/>
              </a:solidFill>
            </a:rPr>
            <a:t>Facilitatori</a:t>
          </a:r>
          <a:endParaRPr lang="it-IT" sz="2000" b="0" kern="1200" dirty="0">
            <a:solidFill>
              <a:schemeClr val="accent1"/>
            </a:solidFill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2000" b="0" kern="1200" dirty="0" smtClean="0">
              <a:solidFill>
                <a:srgbClr val="FF0000"/>
              </a:solidFill>
            </a:rPr>
            <a:t>Attori del territorio portatori di conoscenze e competenze che hanno inviato il modulo di adesione  </a:t>
          </a:r>
          <a:endParaRPr lang="it-IT" sz="2000" b="0" kern="1200" dirty="0">
            <a:solidFill>
              <a:srgbClr val="FF0000"/>
            </a:solidFill>
          </a:endParaRPr>
        </a:p>
      </dsp:txBody>
      <dsp:txXfrm rot="-5400000">
        <a:off x="1889336" y="204281"/>
        <a:ext cx="3794887" cy="2743638"/>
      </dsp:txXfrm>
    </dsp:sp>
    <dsp:sp modelId="{4B75031E-EAE2-44AE-A204-79AAE3CD8BF2}">
      <dsp:nvSpPr>
        <dsp:cNvPr id="0" name=""/>
        <dsp:cNvSpPr/>
      </dsp:nvSpPr>
      <dsp:spPr>
        <a:xfrm>
          <a:off x="0" y="3023"/>
          <a:ext cx="1885074" cy="3093320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b="1" kern="1200" dirty="0" smtClean="0"/>
            <a:t>TAVOLO ECONOMIA DEL MARE</a:t>
          </a:r>
          <a:endParaRPr lang="it-IT" sz="2000" b="1" kern="1200" dirty="0"/>
        </a:p>
      </dsp:txBody>
      <dsp:txXfrm>
        <a:off x="92022" y="95045"/>
        <a:ext cx="1701030" cy="2909276"/>
      </dsp:txXfrm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93C6C5-800F-4AD0-9287-91F0CE3F8018}">
      <dsp:nvSpPr>
        <dsp:cNvPr id="0" name=""/>
        <dsp:cNvSpPr/>
      </dsp:nvSpPr>
      <dsp:spPr>
        <a:xfrm>
          <a:off x="0" y="0"/>
          <a:ext cx="2781300" cy="347647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D743BFD-89FA-49AE-B8B8-5B451728DC2D}">
      <dsp:nvSpPr>
        <dsp:cNvPr id="0" name=""/>
        <dsp:cNvSpPr/>
      </dsp:nvSpPr>
      <dsp:spPr>
        <a:xfrm>
          <a:off x="83438" y="46353"/>
          <a:ext cx="2614422" cy="254941"/>
        </a:xfrm>
        <a:prstGeom prst="roundRect">
          <a:avLst>
            <a:gd name="adj" fmla="val 10000"/>
          </a:avLst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67DCA96-203E-4FCF-BFE0-43C97B4D268A}">
      <dsp:nvSpPr>
        <dsp:cNvPr id="0" name=""/>
        <dsp:cNvSpPr/>
      </dsp:nvSpPr>
      <dsp:spPr>
        <a:xfrm rot="10800000">
          <a:off x="83438" y="347647"/>
          <a:ext cx="2614422" cy="424902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TIME LINE RICERCA ED ANALISI </a:t>
          </a:r>
          <a:endParaRPr lang="it-IT" sz="1400" b="1" kern="1200" dirty="0"/>
        </a:p>
      </dsp:txBody>
      <dsp:txXfrm rot="10800000">
        <a:off x="96505" y="347647"/>
        <a:ext cx="2588288" cy="411835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0"/>
          <a:ext cx="876863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0"/>
          <a:ext cx="8768630" cy="7200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u="none" strike="noStrike" kern="1200" dirty="0" smtClean="0">
              <a:solidFill>
                <a:schemeClr val="accent1">
                  <a:lumMod val="75000"/>
                </a:schemeClr>
              </a:solidFill>
              <a:effectLst/>
            </a:rPr>
            <a:t>A che punto è la definizione della RIS 3 Sicilia: percorso svolto</a:t>
          </a:r>
          <a:endParaRPr lang="it-IT" sz="24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0"/>
        <a:ext cx="8768630" cy="720080"/>
      </dsp:txXfrm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A28F2D-F759-4636-ACBD-8466D60D4E17}">
      <dsp:nvSpPr>
        <dsp:cNvPr id="0" name=""/>
        <dsp:cNvSpPr/>
      </dsp:nvSpPr>
      <dsp:spPr>
        <a:xfrm rot="5400000">
          <a:off x="287472" y="1524722"/>
          <a:ext cx="1149296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1061A77-D165-43D5-9ED8-B5EB9DDB2753}">
      <dsp:nvSpPr>
        <dsp:cNvPr id="0" name=""/>
        <dsp:cNvSpPr/>
      </dsp:nvSpPr>
      <dsp:spPr>
        <a:xfrm>
          <a:off x="191499" y="490550"/>
          <a:ext cx="1866106" cy="12584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1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rgbClr val="FF0000"/>
              </a:solidFill>
            </a:rPr>
            <a:t>Azione di feedback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rgbClr val="FF0000"/>
              </a:solidFill>
            </a:rPr>
            <a:t>    e di restituzion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0000"/>
              </a:solidFill>
            </a:rPr>
            <a:t>    (Laboratorio)</a:t>
          </a:r>
          <a:endParaRPr lang="it-IT" sz="1400" b="1" i="0" kern="1200" dirty="0">
            <a:solidFill>
              <a:srgbClr val="FF0000"/>
            </a:solidFill>
          </a:endParaRPr>
        </a:p>
      </dsp:txBody>
      <dsp:txXfrm>
        <a:off x="228357" y="527408"/>
        <a:ext cx="1792390" cy="1184711"/>
      </dsp:txXfrm>
    </dsp:sp>
    <dsp:sp modelId="{AFE62B99-C380-4A7D-A81E-0B836ACE2D97}">
      <dsp:nvSpPr>
        <dsp:cNvPr id="0" name=""/>
        <dsp:cNvSpPr/>
      </dsp:nvSpPr>
      <dsp:spPr>
        <a:xfrm rot="5400000">
          <a:off x="276473" y="2690821"/>
          <a:ext cx="1171293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AD84E32-EB4D-4F6E-9190-AC855B3EA2A5}">
      <dsp:nvSpPr>
        <dsp:cNvPr id="0" name=""/>
        <dsp:cNvSpPr/>
      </dsp:nvSpPr>
      <dsp:spPr>
        <a:xfrm>
          <a:off x="46940" y="1881164"/>
          <a:ext cx="2155223" cy="79083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2.Individuazione ambiti di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</a:t>
          </a:r>
          <a:r>
            <a:rPr lang="it-IT" sz="1400" b="1" kern="1200" dirty="0" err="1" smtClean="0">
              <a:solidFill>
                <a:schemeClr val="accent1"/>
              </a:solidFill>
            </a:rPr>
            <a:t>governance</a:t>
          </a:r>
          <a:r>
            <a:rPr lang="it-IT" sz="1400" b="1" kern="1200" dirty="0" smtClean="0">
              <a:solidFill>
                <a:schemeClr val="accent1"/>
              </a:solidFill>
            </a:rPr>
            <a:t> territoriale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70103" y="1904327"/>
        <a:ext cx="2108897" cy="744506"/>
      </dsp:txXfrm>
    </dsp:sp>
    <dsp:sp modelId="{2BCD11DB-F453-4B2F-B9D0-13AA9F8F954B}">
      <dsp:nvSpPr>
        <dsp:cNvPr id="0" name=""/>
        <dsp:cNvSpPr/>
      </dsp:nvSpPr>
      <dsp:spPr>
        <a:xfrm rot="122070">
          <a:off x="866152" y="3332772"/>
          <a:ext cx="2902618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D4C33AB0-25CA-4969-A8C5-FD5F197A3E20}">
      <dsp:nvSpPr>
        <dsp:cNvPr id="0" name=""/>
        <dsp:cNvSpPr/>
      </dsp:nvSpPr>
      <dsp:spPr>
        <a:xfrm>
          <a:off x="1089" y="2804183"/>
          <a:ext cx="2246925" cy="130274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3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Condivisione dell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priorità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39245" y="2842339"/>
        <a:ext cx="2170613" cy="1226434"/>
      </dsp:txXfrm>
    </dsp:sp>
    <dsp:sp modelId="{9D20F1A6-36D0-4E01-9A27-C5A6895D97F1}">
      <dsp:nvSpPr>
        <dsp:cNvPr id="0" name=""/>
        <dsp:cNvSpPr/>
      </dsp:nvSpPr>
      <dsp:spPr>
        <a:xfrm rot="16200000">
          <a:off x="3200876" y="2807394"/>
          <a:ext cx="1145753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C5C7BDE0-612E-411D-8AB9-89A47964221E}">
      <dsp:nvSpPr>
        <dsp:cNvPr id="0" name=""/>
        <dsp:cNvSpPr/>
      </dsp:nvSpPr>
      <dsp:spPr>
        <a:xfrm>
          <a:off x="2697056" y="3010277"/>
          <a:ext cx="2678257" cy="109665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4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Formalizzazione della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condivisione (con appositi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strumenti) </a:t>
          </a:r>
          <a:endParaRPr lang="it-IT" sz="1400" b="1" kern="1200" dirty="0">
            <a:solidFill>
              <a:schemeClr val="accent1"/>
            </a:solidFill>
          </a:endParaRPr>
        </a:p>
      </dsp:txBody>
      <dsp:txXfrm>
        <a:off x="2729176" y="3042397"/>
        <a:ext cx="2614017" cy="1032412"/>
      </dsp:txXfrm>
    </dsp:sp>
    <dsp:sp modelId="{F38425E9-A09D-45A4-86DE-3B871D235AAB}">
      <dsp:nvSpPr>
        <dsp:cNvPr id="0" name=""/>
        <dsp:cNvSpPr/>
      </dsp:nvSpPr>
      <dsp:spPr>
        <a:xfrm rot="16200000">
          <a:off x="3139090" y="1592916"/>
          <a:ext cx="1269325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38DA9E9-3C12-47A7-AF1C-6EFA3B6BFACF}">
      <dsp:nvSpPr>
        <dsp:cNvPr id="0" name=""/>
        <dsp:cNvSpPr/>
      </dsp:nvSpPr>
      <dsp:spPr>
        <a:xfrm>
          <a:off x="2538824" y="1932621"/>
          <a:ext cx="2994720" cy="94546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5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Avvio  strategia per la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comunicazione</a:t>
          </a:r>
        </a:p>
      </dsp:txBody>
      <dsp:txXfrm>
        <a:off x="2566516" y="1960313"/>
        <a:ext cx="2939336" cy="890085"/>
      </dsp:txXfrm>
    </dsp:sp>
    <dsp:sp modelId="{A2DC82F0-E497-49EB-AA87-BC9FF86E52AE}">
      <dsp:nvSpPr>
        <dsp:cNvPr id="0" name=""/>
        <dsp:cNvSpPr/>
      </dsp:nvSpPr>
      <dsp:spPr>
        <a:xfrm rot="101335">
          <a:off x="3779040" y="996916"/>
          <a:ext cx="2958641" cy="79311"/>
        </a:xfrm>
        <a:prstGeom prst="rect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F7A22B34-E67D-452E-B7A3-670E43080D52}">
      <dsp:nvSpPr>
        <dsp:cNvPr id="0" name=""/>
        <dsp:cNvSpPr/>
      </dsp:nvSpPr>
      <dsp:spPr>
        <a:xfrm>
          <a:off x="2689446" y="454813"/>
          <a:ext cx="2693476" cy="13456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6.</a:t>
          </a:r>
          <a:r>
            <a:rPr lang="it-IT" sz="1400" b="1" kern="1200" dirty="0" smtClean="0"/>
            <a:t> </a:t>
          </a:r>
          <a:r>
            <a:rPr lang="it-IT" sz="1400" b="1" kern="1200" dirty="0" smtClean="0">
              <a:solidFill>
                <a:schemeClr val="accent1"/>
              </a:solidFill>
            </a:rPr>
            <a:t>Costituzione di  una Unità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tecnica con funzioni di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indirizzo e coordinamento, 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monitoraggio e valutazione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 della Strategia</a:t>
          </a:r>
        </a:p>
      </dsp:txBody>
      <dsp:txXfrm>
        <a:off x="2728858" y="494225"/>
        <a:ext cx="2614652" cy="1266798"/>
      </dsp:txXfrm>
    </dsp:sp>
    <dsp:sp modelId="{6C2FB6B5-23EA-4C6B-B472-9E5490D7D680}">
      <dsp:nvSpPr>
        <dsp:cNvPr id="0" name=""/>
        <dsp:cNvSpPr/>
      </dsp:nvSpPr>
      <dsp:spPr>
        <a:xfrm>
          <a:off x="5824354" y="454813"/>
          <a:ext cx="2350233" cy="153125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7.Costituzione del Gruppo</a:t>
          </a:r>
        </a:p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accent1"/>
              </a:solidFill>
            </a:rPr>
            <a:t>   di Pilotaggio</a:t>
          </a:r>
        </a:p>
      </dsp:txBody>
      <dsp:txXfrm>
        <a:off x="5869203" y="499662"/>
        <a:ext cx="2260535" cy="1441561"/>
      </dsp:txXfrm>
    </dsp:sp>
  </dsp:spTree>
</dsp:drawing>
</file>

<file path=ppt/diagrams/drawing2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37AE75-85E6-437A-8B56-910DD27A4ECE}">
      <dsp:nvSpPr>
        <dsp:cNvPr id="0" name=""/>
        <dsp:cNvSpPr/>
      </dsp:nvSpPr>
      <dsp:spPr>
        <a:xfrm>
          <a:off x="0" y="0"/>
          <a:ext cx="7696904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D8CE0C5-97D0-41BA-B185-D747D53A47F7}">
      <dsp:nvSpPr>
        <dsp:cNvPr id="0" name=""/>
        <dsp:cNvSpPr/>
      </dsp:nvSpPr>
      <dsp:spPr>
        <a:xfrm>
          <a:off x="0" y="0"/>
          <a:ext cx="7696904" cy="797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2000" b="1" kern="1200" dirty="0">
            <a:solidFill>
              <a:srgbClr val="6699FF"/>
            </a:solidFill>
            <a:effectLst/>
            <a:latin typeface="Calibri" panose="020F0502020204030204" pitchFamily="34" charset="0"/>
          </a:endParaRPr>
        </a:p>
      </dsp:txBody>
      <dsp:txXfrm>
        <a:off x="0" y="0"/>
        <a:ext cx="7696904" cy="797627"/>
      </dsp:txXfrm>
    </dsp:sp>
  </dsp:spTree>
</dsp:drawing>
</file>

<file path=ppt/diagrams/drawing2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93B85D-E7EC-43EB-AD43-BE75F7C562F8}">
      <dsp:nvSpPr>
        <dsp:cNvPr id="0" name=""/>
        <dsp:cNvSpPr/>
      </dsp:nvSpPr>
      <dsp:spPr>
        <a:xfrm>
          <a:off x="3427" y="0"/>
          <a:ext cx="3925820" cy="468052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COPERTA E CONDIVISIONE DI UNA DISTINTIVA SPECIALIZZAZIONE REGIONALE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Lettura delle 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pecifiche caratteristiche del territorio</a:t>
          </a:r>
          <a:r>
            <a:rPr lang="it-IT" sz="1300" kern="1200" dirty="0" smtClean="0"/>
            <a:t> e 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cesso di </a:t>
          </a:r>
          <a:r>
            <a:rPr lang="it-IT" sz="13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empowerment</a:t>
          </a: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dei diversi attori regionali dell’innovazione. </a:t>
          </a:r>
          <a:endParaRPr lang="it-IT" sz="1300" kern="1200" dirty="0" smtClean="0"/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La RIS3 Sicilia intende l‘INNOVAZIONE come  un processo multidimensionale e altamente interattivo di collaborazione tra diversi attori</a:t>
          </a:r>
          <a:r>
            <a:rPr lang="it-IT" sz="1200" kern="1200" dirty="0" smtClean="0">
              <a:solidFill>
                <a:srgbClr val="FFFF00"/>
              </a:solidFill>
            </a:rPr>
            <a:t>.</a:t>
          </a:r>
          <a:endParaRPr lang="it-IT" sz="1200" kern="1200" dirty="0">
            <a:solidFill>
              <a:srgbClr val="FFFF00"/>
            </a:solidFill>
          </a:endParaRPr>
        </a:p>
      </dsp:txBody>
      <dsp:txXfrm>
        <a:off x="3427" y="1872208"/>
        <a:ext cx="3925820" cy="1872208"/>
      </dsp:txXfrm>
    </dsp:sp>
    <dsp:sp modelId="{D45867DB-5E57-4321-B95F-EF177612117D}">
      <dsp:nvSpPr>
        <dsp:cNvPr id="0" name=""/>
        <dsp:cNvSpPr/>
      </dsp:nvSpPr>
      <dsp:spPr>
        <a:xfrm>
          <a:off x="1187031" y="280831"/>
          <a:ext cx="1558613" cy="1558613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D4FB9A-CA69-4FE6-AE01-D6BD5549E131}">
      <dsp:nvSpPr>
        <dsp:cNvPr id="0" name=""/>
        <dsp:cNvSpPr/>
      </dsp:nvSpPr>
      <dsp:spPr>
        <a:xfrm>
          <a:off x="4050450" y="0"/>
          <a:ext cx="3925820" cy="468052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400" b="1" kern="1200" dirty="0" smtClean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INDIVIDUAZIONE DELLE LEVE CHE MUOVONO LO SVILUPPO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uolo chiave delle cosiddette tecnologie chiave abilitanti (Key Enabling Technologies – KETs). </a:t>
          </a:r>
        </a:p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uperamento dell’approccio basato sul tradizionale sostegno ai settori produttivi e alla ricerca </a:t>
          </a:r>
        </a:p>
      </dsp:txBody>
      <dsp:txXfrm>
        <a:off x="4050450" y="1872208"/>
        <a:ext cx="3925820" cy="1872208"/>
      </dsp:txXfrm>
    </dsp:sp>
    <dsp:sp modelId="{0884A0BC-1141-4228-BC39-52DFE7694685}">
      <dsp:nvSpPr>
        <dsp:cNvPr id="0" name=""/>
        <dsp:cNvSpPr/>
      </dsp:nvSpPr>
      <dsp:spPr>
        <a:xfrm>
          <a:off x="5224361" y="248739"/>
          <a:ext cx="1558613" cy="155861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10E4646-191B-46B4-8568-08679650E7AC}">
      <dsp:nvSpPr>
        <dsp:cNvPr id="0" name=""/>
        <dsp:cNvSpPr/>
      </dsp:nvSpPr>
      <dsp:spPr>
        <a:xfrm>
          <a:off x="72525" y="3978442"/>
          <a:ext cx="7599188" cy="702078"/>
        </a:xfrm>
        <a:prstGeom prst="leftRightArrow">
          <a:avLst/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168C89-C16B-4E9B-8797-A4838073953D}">
      <dsp:nvSpPr>
        <dsp:cNvPr id="0" name=""/>
        <dsp:cNvSpPr/>
      </dsp:nvSpPr>
      <dsp:spPr>
        <a:xfrm>
          <a:off x="0" y="0"/>
          <a:ext cx="8693073" cy="181369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8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RAFFORZARE IL SISTEMA PRODUTTIVO REGIONALE </a:t>
          </a:r>
          <a:endParaRPr lang="it-IT" sz="1800" b="1" u="none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  <a:p>
          <a:pPr lvl="0" algn="just" defTabSz="80010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APPROCCIO MULTIDIMENSIONALE </a:t>
          </a:r>
        </a:p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Potenziamento del ruolo dei sistemi innovativi locali più performanti nel presidio di alcune KETs e al contempo </a:t>
          </a:r>
          <a:r>
            <a:rPr lang="it-IT" sz="1400" b="1" u="none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nalzamento del valore di mercato del tessuto produttivo tradizionale</a:t>
          </a: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 con le maggiori prospettive di riconversione competitiva e di ricaduta occupazionale.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 Infine, facilitare e supportare il processo di scoperta imprenditoriale favorendo l’incontro tra gli imprenditori anche emergenti e l’offerta di ricerca.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sp:txBody>
      <dsp:txXfrm>
        <a:off x="1894926" y="0"/>
        <a:ext cx="6798146" cy="1813698"/>
      </dsp:txXfrm>
    </dsp:sp>
    <dsp:sp modelId="{56706EBC-49D7-45F7-BB65-A09CF00B3AFD}">
      <dsp:nvSpPr>
        <dsp:cNvPr id="0" name=""/>
        <dsp:cNvSpPr/>
      </dsp:nvSpPr>
      <dsp:spPr>
        <a:xfrm>
          <a:off x="156311" y="281602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" b="-5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F0A50A-EAFC-4B73-A2B3-D743262EC1EA}">
      <dsp:nvSpPr>
        <dsp:cNvPr id="0" name=""/>
        <dsp:cNvSpPr/>
      </dsp:nvSpPr>
      <dsp:spPr>
        <a:xfrm>
          <a:off x="0" y="1970009"/>
          <a:ext cx="8693073" cy="15631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SOSTENERE LA DIFFUSIONE DI SOLUZIONI E SERVIZI INNOVATIVI 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QUALITÀ DELLA VITA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Incrementare ed innalzare la diffusione di servizi e soluzioni innovative volti a favorire l’innalzamento della qualità della vita nei luoghi in cui si manifestano bisogni sociali , economici ed ambientali insoddisfatti</a:t>
          </a:r>
          <a:r>
            <a:rPr lang="it-IT" sz="1400" b="1" kern="1200" dirty="0" smtClean="0">
              <a:solidFill>
                <a:schemeClr val="bg1"/>
              </a:solidFill>
              <a:effectLst/>
              <a:latin typeface="Neo Sans Std Medium" pitchFamily="34" charset="0"/>
              <a:ea typeface="+mn-ea"/>
              <a:cs typeface="+mn-cs"/>
            </a:rPr>
            <a:t>. </a:t>
          </a:r>
          <a:endParaRPr lang="it-IT" sz="1400" b="1" kern="1200" dirty="0">
            <a:solidFill>
              <a:schemeClr val="bg1"/>
            </a:solidFill>
            <a:effectLst/>
            <a:latin typeface="Neo Sans Std Medium" pitchFamily="34" charset="0"/>
            <a:ea typeface="+mn-ea"/>
            <a:cs typeface="+mn-cs"/>
          </a:endParaRPr>
        </a:p>
      </dsp:txBody>
      <dsp:txXfrm>
        <a:off x="1894926" y="1970009"/>
        <a:ext cx="6798146" cy="1563115"/>
      </dsp:txXfrm>
    </dsp:sp>
    <dsp:sp modelId="{14850E1F-B083-46EA-B8E5-E23BCE6F199B}">
      <dsp:nvSpPr>
        <dsp:cNvPr id="0" name=""/>
        <dsp:cNvSpPr/>
      </dsp:nvSpPr>
      <dsp:spPr>
        <a:xfrm>
          <a:off x="156311" y="2126321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8B2A6B-DCD5-4D44-B383-E5475A122E28}">
      <dsp:nvSpPr>
        <dsp:cNvPr id="0" name=""/>
        <dsp:cNvSpPr/>
      </dsp:nvSpPr>
      <dsp:spPr>
        <a:xfrm>
          <a:off x="0" y="3689436"/>
          <a:ext cx="8693073" cy="156311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it-IT" sz="1600" b="1" kern="1200" dirty="0" smtClean="0">
            <a:solidFill>
              <a:srgbClr val="FFFF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600" b="1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PROMUOVERE LA PIÙ AMPIA DIFFUSIONE DELLA CULTURA DELL’INNOVAZIONE </a:t>
          </a: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it-IT" sz="1200" b="1" i="1" u="none" kern="1200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CAPITALE UMANO</a:t>
          </a:r>
        </a:p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 pitchFamily="34" charset="0"/>
              <a:ea typeface="+mn-ea"/>
              <a:cs typeface="+mn-cs"/>
            </a:rPr>
            <a:t>Ruolo abilitante del capitale umano mediante un’attività di formazione e informazione che con gli strumenti più adeguati coinvolga tutti i livelli della società, a partire dalla scuola sino ad arrivare alla pubblica amministrazione.</a:t>
          </a:r>
          <a:endParaRPr lang="it-IT" sz="1400" b="1" kern="1200" dirty="0">
            <a:solidFill>
              <a:schemeClr val="bg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 pitchFamily="34" charset="0"/>
            <a:ea typeface="+mn-ea"/>
            <a:cs typeface="+mn-cs"/>
          </a:endParaRPr>
        </a:p>
      </dsp:txBody>
      <dsp:txXfrm>
        <a:off x="1894926" y="3689436"/>
        <a:ext cx="6798146" cy="1563115"/>
      </dsp:txXfrm>
    </dsp:sp>
    <dsp:sp modelId="{03CAC9C2-748F-4326-A0C0-01022A85A403}">
      <dsp:nvSpPr>
        <dsp:cNvPr id="0" name=""/>
        <dsp:cNvSpPr/>
      </dsp:nvSpPr>
      <dsp:spPr>
        <a:xfrm>
          <a:off x="156311" y="3845747"/>
          <a:ext cx="1738614" cy="1250492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18694-7D13-4394-9999-743EFAEC9488}">
      <dsp:nvSpPr>
        <dsp:cNvPr id="0" name=""/>
        <dsp:cNvSpPr/>
      </dsp:nvSpPr>
      <dsp:spPr>
        <a:xfrm>
          <a:off x="1286552" y="0"/>
          <a:ext cx="1114558" cy="309355"/>
        </a:xfrm>
        <a:prstGeom prst="homePlat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kern="1200" dirty="0" smtClean="0"/>
            <a:t>Verso il PO FESR 2014-2020</a:t>
          </a:r>
          <a:endParaRPr lang="it-IT" sz="900" kern="1200" dirty="0"/>
        </a:p>
      </dsp:txBody>
      <dsp:txXfrm>
        <a:off x="1286552" y="0"/>
        <a:ext cx="1037219" cy="309355"/>
      </dsp:txXfrm>
    </dsp:sp>
  </dsp:spTree>
</dsp:drawing>
</file>

<file path=ppt/diagrams/drawing2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11C825-4C01-4010-80E5-94DE88871CFE}">
      <dsp:nvSpPr>
        <dsp:cNvPr id="0" name=""/>
        <dsp:cNvSpPr/>
      </dsp:nvSpPr>
      <dsp:spPr>
        <a:xfrm rot="16200000">
          <a:off x="1515000" y="-398839"/>
          <a:ext cx="930483" cy="3988118"/>
        </a:xfrm>
        <a:prstGeom prst="downArrow">
          <a:avLst>
            <a:gd name="adj1" fmla="val 50000"/>
            <a:gd name="adj2" fmla="val 3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“</a:t>
          </a:r>
          <a:r>
            <a:rPr lang="it-IT" sz="1400" b="1" i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mission </a:t>
          </a:r>
          <a:r>
            <a:rPr lang="it-IT" sz="1400" b="1" i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</a:t>
          </a:r>
        </a:p>
      </dsp:txBody>
      <dsp:txXfrm rot="5400000">
        <a:off x="-13817" y="1362599"/>
        <a:ext cx="3825283" cy="465241"/>
      </dsp:txXfrm>
    </dsp:sp>
    <dsp:sp modelId="{DBF43435-E534-4CA2-9BEB-93585D8D69F7}">
      <dsp:nvSpPr>
        <dsp:cNvPr id="0" name=""/>
        <dsp:cNvSpPr/>
      </dsp:nvSpPr>
      <dsp:spPr>
        <a:xfrm rot="5400000">
          <a:off x="5688990" y="-437927"/>
          <a:ext cx="985227" cy="3988118"/>
        </a:xfrm>
        <a:prstGeom prst="downArrow">
          <a:avLst>
            <a:gd name="adj1" fmla="val 50000"/>
            <a:gd name="adj2" fmla="val 35000"/>
          </a:avLst>
        </a:prstGeom>
        <a:solidFill>
          <a:srgbClr val="00CC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“</a:t>
          </a:r>
          <a:r>
            <a:rPr lang="it-IT" sz="1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diffusion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 </a:t>
          </a:r>
          <a:r>
            <a:rPr lang="it-IT" sz="1400" b="1" kern="1200" dirty="0" err="1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oriented</a:t>
          </a: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” </a:t>
          </a:r>
        </a:p>
      </dsp:txBody>
      <dsp:txXfrm rot="-5400000">
        <a:off x="4359960" y="1309825"/>
        <a:ext cx="3815703" cy="49261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Perché siamo qui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3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83E03EB-8615-4699-A45B-B57E780F0332}">
      <dsp:nvSpPr>
        <dsp:cNvPr id="0" name=""/>
        <dsp:cNvSpPr/>
      </dsp:nvSpPr>
      <dsp:spPr>
        <a:xfrm>
          <a:off x="1332" y="772064"/>
          <a:ext cx="3653126" cy="42977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2C7311-6F60-41E3-801D-0A7CE5665F13}">
      <dsp:nvSpPr>
        <dsp:cNvPr id="0" name=""/>
        <dsp:cNvSpPr/>
      </dsp:nvSpPr>
      <dsp:spPr>
        <a:xfrm>
          <a:off x="1332" y="933472"/>
          <a:ext cx="268371" cy="268371"/>
        </a:xfrm>
        <a:prstGeom prst="rect">
          <a:avLst/>
        </a:prstGeom>
        <a:solidFill>
          <a:srgbClr val="33CC33">
            <a:alpha val="90000"/>
          </a:srgb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B3687A-029B-4B9E-A768-51742B3B318E}">
      <dsp:nvSpPr>
        <dsp:cNvPr id="0" name=""/>
        <dsp:cNvSpPr/>
      </dsp:nvSpPr>
      <dsp:spPr>
        <a:xfrm>
          <a:off x="1332" y="0"/>
          <a:ext cx="3653126" cy="7720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solidFill>
                <a:schemeClr val="accent6">
                  <a:lumMod val="75000"/>
                </a:schemeClr>
              </a:solidFill>
            </a:rPr>
            <a:t>finalizzati ad un diffuso innesto di innovazioni, anche non di natura tecnologica, nel sistema economico e sociale e rivolti ad un’ampia platea di beneficiari </a:t>
          </a: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600" b="1" kern="1200" dirty="0"/>
        </a:p>
      </dsp:txBody>
      <dsp:txXfrm>
        <a:off x="1332" y="0"/>
        <a:ext cx="3653126" cy="772064"/>
      </dsp:txXfrm>
    </dsp:sp>
  </dsp:spTree>
</dsp:drawing>
</file>

<file path=ppt/diagrams/drawing3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1D0415-9388-4E4F-9160-2793C0F671EE}">
      <dsp:nvSpPr>
        <dsp:cNvPr id="0" name=""/>
        <dsp:cNvSpPr/>
      </dsp:nvSpPr>
      <dsp:spPr>
        <a:xfrm>
          <a:off x="1695" y="842150"/>
          <a:ext cx="3984743" cy="46879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9E0879E-6F98-4834-B869-D3EE0F5BDB55}">
      <dsp:nvSpPr>
        <dsp:cNvPr id="0" name=""/>
        <dsp:cNvSpPr/>
      </dsp:nvSpPr>
      <dsp:spPr>
        <a:xfrm>
          <a:off x="1695" y="1018209"/>
          <a:ext cx="292733" cy="292733"/>
        </a:xfrm>
        <a:prstGeom prst="rect">
          <a:avLst/>
        </a:prstGeom>
        <a:solidFill>
          <a:schemeClr val="accent2">
            <a:alpha val="9000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966723-4AA0-486E-A4AA-943FAAF5ED21}">
      <dsp:nvSpPr>
        <dsp:cNvPr id="0" name=""/>
        <dsp:cNvSpPr/>
      </dsp:nvSpPr>
      <dsp:spPr>
        <a:xfrm>
          <a:off x="1695" y="0"/>
          <a:ext cx="3984743" cy="8421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385" tIns="21590" rIns="32385" bIns="2159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b="1" kern="1200" dirty="0" smtClean="0">
              <a:solidFill>
                <a:schemeClr val="accent2"/>
              </a:solidFill>
            </a:rPr>
            <a:t>finalizzati al sostegno mirato a programmi ambiziosi di carattere strategico sotto il profilo dell’impatto sul contesto regionale</a:t>
          </a:r>
          <a:endParaRPr lang="it-IT" sz="1700" b="1" kern="1200" dirty="0">
            <a:solidFill>
              <a:schemeClr val="accent2"/>
            </a:solidFill>
          </a:endParaRPr>
        </a:p>
      </dsp:txBody>
      <dsp:txXfrm>
        <a:off x="1695" y="0"/>
        <a:ext cx="3984743" cy="842150"/>
      </dsp:txXfrm>
    </dsp:sp>
  </dsp:spTree>
</dsp:drawing>
</file>

<file path=ppt/diagrams/drawing3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EE2CEB5-124D-44F5-9096-E7ECAF2F2101}">
      <dsp:nvSpPr>
        <dsp:cNvPr id="0" name=""/>
        <dsp:cNvSpPr/>
      </dsp:nvSpPr>
      <dsp:spPr>
        <a:xfrm>
          <a:off x="1370522" y="355946"/>
          <a:ext cx="767715" cy="767715"/>
        </a:xfrm>
        <a:prstGeom prst="gear9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1 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524867" y="535780"/>
        <a:ext cx="459025" cy="394621"/>
      </dsp:txXfrm>
    </dsp:sp>
    <dsp:sp modelId="{48AC5F59-43C7-463B-9C6A-CEA2081E1C1C}">
      <dsp:nvSpPr>
        <dsp:cNvPr id="0" name=""/>
        <dsp:cNvSpPr/>
      </dsp:nvSpPr>
      <dsp:spPr>
        <a:xfrm>
          <a:off x="1002665" y="620375"/>
          <a:ext cx="558338" cy="558338"/>
        </a:xfrm>
        <a:prstGeom prst="gear6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eo Sans Std Medium"/>
            </a:rPr>
            <a:t>OT 2</a:t>
          </a:r>
          <a:endParaRPr lang="it-IT" sz="1200" b="1" kern="1200" dirty="0">
            <a:solidFill>
              <a:schemeClr val="accent1">
                <a:lumMod val="75000"/>
              </a:schemeClr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Neo Sans Std Medium"/>
          </a:endParaRPr>
        </a:p>
      </dsp:txBody>
      <dsp:txXfrm>
        <a:off x="1143228" y="761788"/>
        <a:ext cx="277212" cy="275512"/>
      </dsp:txXfrm>
    </dsp:sp>
    <dsp:sp modelId="{9C58820E-B88E-42EC-B94E-53580DE862F7}">
      <dsp:nvSpPr>
        <dsp:cNvPr id="0" name=""/>
        <dsp:cNvSpPr/>
      </dsp:nvSpPr>
      <dsp:spPr>
        <a:xfrm>
          <a:off x="1472100" y="251807"/>
          <a:ext cx="944290" cy="944290"/>
        </a:xfrm>
        <a:prstGeom prst="circularArrow">
          <a:avLst>
            <a:gd name="adj1" fmla="val 4878"/>
            <a:gd name="adj2" fmla="val 312630"/>
            <a:gd name="adj3" fmla="val 2770429"/>
            <a:gd name="adj4" fmla="val 15829649"/>
            <a:gd name="adj5" fmla="val 5691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71AF710-52C6-4140-9C37-87300CDE1B1A}">
      <dsp:nvSpPr>
        <dsp:cNvPr id="0" name=""/>
        <dsp:cNvSpPr/>
      </dsp:nvSpPr>
      <dsp:spPr>
        <a:xfrm>
          <a:off x="899274" y="573756"/>
          <a:ext cx="713975" cy="71397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B318694-7D13-4394-9999-743EFAEC9488}">
      <dsp:nvSpPr>
        <dsp:cNvPr id="0" name=""/>
        <dsp:cNvSpPr/>
      </dsp:nvSpPr>
      <dsp:spPr>
        <a:xfrm>
          <a:off x="1286552" y="0"/>
          <a:ext cx="1114558" cy="309355"/>
        </a:xfrm>
        <a:prstGeom prst="homePlate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006" tIns="24003" rIns="12002" bIns="24003" numCol="1" spcCol="1270" anchor="ctr" anchorCtr="0">
          <a:noAutofit/>
        </a:bodyPr>
        <a:lstStyle/>
        <a:p>
          <a:pPr lvl="0" algn="ctr" defTabSz="400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900" kern="1200" dirty="0" smtClean="0"/>
            <a:t>Verso il PO FESR 2014-2020</a:t>
          </a:r>
          <a:endParaRPr lang="it-IT" sz="900" kern="1200" dirty="0"/>
        </a:p>
      </dsp:txBody>
      <dsp:txXfrm>
        <a:off x="1286552" y="0"/>
        <a:ext cx="1037219" cy="309355"/>
      </dsp:txXfrm>
    </dsp:sp>
  </dsp:spTree>
</dsp:drawing>
</file>

<file path=ppt/diagrams/drawing3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145999-397C-4B26-80C5-A6DCCF277918}">
      <dsp:nvSpPr>
        <dsp:cNvPr id="0" name=""/>
        <dsp:cNvSpPr/>
      </dsp:nvSpPr>
      <dsp:spPr>
        <a:xfrm>
          <a:off x="0" y="428102"/>
          <a:ext cx="2328063" cy="2350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Mission Oriented </a:t>
          </a:r>
          <a:endParaRPr lang="it-IT" sz="1100" kern="1200" dirty="0"/>
        </a:p>
      </dsp:txBody>
      <dsp:txXfrm>
        <a:off x="11472" y="439574"/>
        <a:ext cx="2305119" cy="212059"/>
      </dsp:txXfrm>
    </dsp:sp>
  </dsp:spTree>
</dsp:drawing>
</file>

<file path=ppt/diagrams/drawing3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145999-397C-4B26-80C5-A6DCCF277918}">
      <dsp:nvSpPr>
        <dsp:cNvPr id="0" name=""/>
        <dsp:cNvSpPr/>
      </dsp:nvSpPr>
      <dsp:spPr>
        <a:xfrm>
          <a:off x="0" y="282247"/>
          <a:ext cx="2262021" cy="23500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Diffusion  Oriented </a:t>
          </a:r>
          <a:endParaRPr lang="it-IT" sz="1100" kern="1200" dirty="0"/>
        </a:p>
      </dsp:txBody>
      <dsp:txXfrm>
        <a:off x="11472" y="293719"/>
        <a:ext cx="2239077" cy="212059"/>
      </dsp:txXfrm>
    </dsp:sp>
  </dsp:spTree>
</dsp:drawing>
</file>

<file path=ppt/diagrams/drawing3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7FC795-A476-4946-BE97-EF1BF71309EC}">
      <dsp:nvSpPr>
        <dsp:cNvPr id="0" name=""/>
        <dsp:cNvSpPr/>
      </dsp:nvSpPr>
      <dsp:spPr>
        <a:xfrm>
          <a:off x="0" y="77687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Rafforzamento competenze scientifiche e produttive legate alle KETs </a:t>
          </a:r>
          <a:endParaRPr lang="it-IT" sz="1000" kern="1200" dirty="0"/>
        </a:p>
      </dsp:txBody>
      <dsp:txXfrm>
        <a:off x="19419" y="97106"/>
        <a:ext cx="2182772" cy="358962"/>
      </dsp:txXfrm>
    </dsp:sp>
  </dsp:spTree>
</dsp:drawing>
</file>

<file path=ppt/diagrams/drawing3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7320C9-9B3C-43B0-ABDA-0630C0911D53}">
      <dsp:nvSpPr>
        <dsp:cNvPr id="0" name=""/>
        <dsp:cNvSpPr/>
      </dsp:nvSpPr>
      <dsp:spPr>
        <a:xfrm>
          <a:off x="0" y="0"/>
          <a:ext cx="2221610" cy="6048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Applicazioni delle KET s ai settori esistenti con maggiori potenzialità di sviluppo competitivo</a:t>
          </a:r>
          <a:endParaRPr lang="it-IT" sz="1100" kern="1200" dirty="0"/>
        </a:p>
      </dsp:txBody>
      <dsp:txXfrm>
        <a:off x="29528" y="29528"/>
        <a:ext cx="2162554" cy="545834"/>
      </dsp:txXfrm>
    </dsp:sp>
  </dsp:spTree>
</dsp:drawing>
</file>

<file path=ppt/diagrams/drawing3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E72158-CB87-4623-BAB3-0A89D8A44D36}">
      <dsp:nvSpPr>
        <dsp:cNvPr id="0" name=""/>
        <dsp:cNvSpPr/>
      </dsp:nvSpPr>
      <dsp:spPr>
        <a:xfrm>
          <a:off x="0" y="242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Creazione di un nuovo tessuto produttivo innovation based</a:t>
          </a:r>
          <a:endParaRPr lang="it-IT" sz="1000" kern="1200" dirty="0"/>
        </a:p>
      </dsp:txBody>
      <dsp:txXfrm>
        <a:off x="19419" y="19661"/>
        <a:ext cx="2182772" cy="35896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4086234" y="-577148"/>
          <a:ext cx="3970959" cy="571455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I partecipanti al tavolo hanno il compito di </a:t>
          </a:r>
          <a:r>
            <a:rPr lang="it-IT" sz="3600" b="0" u="sng" kern="1200" dirty="0" smtClean="0">
              <a:solidFill>
                <a:srgbClr val="FF0000"/>
              </a:solidFill>
            </a:rPr>
            <a:t>condividere e fornire  conoscenze </a:t>
          </a:r>
          <a:r>
            <a:rPr lang="it-IT" sz="3600" b="0" kern="1200" dirty="0" smtClean="0">
              <a:solidFill>
                <a:schemeClr val="accent1"/>
              </a:solidFill>
            </a:rPr>
            <a:t>in termini di analisi, diagnosi, </a:t>
          </a:r>
          <a:r>
            <a:rPr lang="it-IT" sz="3600" b="0" kern="1200" dirty="0" err="1" smtClean="0">
              <a:solidFill>
                <a:schemeClr val="accent1"/>
              </a:solidFill>
            </a:rPr>
            <a:t>vision</a:t>
          </a:r>
          <a:r>
            <a:rPr lang="it-IT" sz="3600" b="0" kern="1200" dirty="0" smtClean="0">
              <a:solidFill>
                <a:schemeClr val="accent1"/>
              </a:solidFill>
            </a:rPr>
            <a:t> per </a:t>
          </a:r>
          <a:r>
            <a:rPr lang="it-IT" sz="3600" b="0" u="sng" kern="1200" dirty="0" smtClean="0">
              <a:solidFill>
                <a:srgbClr val="FF0000"/>
              </a:solidFill>
            </a:rPr>
            <a:t>completare</a:t>
          </a:r>
          <a:r>
            <a:rPr lang="it-IT" sz="3600" b="0" kern="1200" dirty="0" smtClean="0">
              <a:solidFill>
                <a:schemeClr val="accent1"/>
              </a:solidFill>
            </a:rPr>
            <a:t>  la definizione della RIS 3 Sicilia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4437" y="488495"/>
        <a:ext cx="5520708" cy="3583267"/>
      </dsp:txXfrm>
    </dsp:sp>
    <dsp:sp modelId="{4B75031E-EAE2-44AE-A204-79AAE3CD8BF2}">
      <dsp:nvSpPr>
        <dsp:cNvPr id="0" name=""/>
        <dsp:cNvSpPr/>
      </dsp:nvSpPr>
      <dsp:spPr>
        <a:xfrm>
          <a:off x="0" y="0"/>
          <a:ext cx="3214437" cy="4963699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210" tIns="78105" rIns="156210" bIns="78105" numCol="1" spcCol="1270" anchor="ctr" anchorCtr="0">
          <a:noAutofit/>
        </a:bodyPr>
        <a:lstStyle/>
        <a:p>
          <a:pPr lvl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100" b="1" kern="1200" dirty="0" smtClean="0"/>
            <a:t>APPROCCIO BOTTOM UP</a:t>
          </a:r>
          <a:endParaRPr lang="it-IT" sz="4100" b="1" kern="1200" dirty="0"/>
        </a:p>
      </dsp:txBody>
      <dsp:txXfrm>
        <a:off x="156916" y="156916"/>
        <a:ext cx="2900605" cy="4649867"/>
      </dsp:txXfrm>
    </dsp:sp>
  </dsp:spTree>
</dsp:drawing>
</file>

<file path=ppt/diagrams/drawing4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4CACD3-EE37-4975-9E62-2F328C6C370E}">
      <dsp:nvSpPr>
        <dsp:cNvPr id="0" name=""/>
        <dsp:cNvSpPr/>
      </dsp:nvSpPr>
      <dsp:spPr>
        <a:xfrm>
          <a:off x="0" y="2"/>
          <a:ext cx="2221610" cy="78507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Sostegno all’uso diffuso delle Innovazioni  (anche non </a:t>
          </a:r>
          <a:r>
            <a:rPr lang="it-IT" sz="1100" kern="1200" dirty="0" err="1" smtClean="0"/>
            <a:t>tech</a:t>
          </a:r>
          <a:r>
            <a:rPr lang="it-IT" sz="1100" kern="1200" dirty="0" smtClean="0"/>
            <a:t>) in risposta alle sfide sociali emergenti negli ambienti urbani e marginali</a:t>
          </a:r>
          <a:endParaRPr lang="it-IT" sz="1100" kern="1200" dirty="0"/>
        </a:p>
      </dsp:txBody>
      <dsp:txXfrm>
        <a:off x="38324" y="38326"/>
        <a:ext cx="2144962" cy="708422"/>
      </dsp:txXfrm>
    </dsp:sp>
  </dsp:spTree>
</dsp:drawing>
</file>

<file path=ppt/diagrams/drawing4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6AD86E-5163-40B0-AE34-CC51738A6EFB}">
      <dsp:nvSpPr>
        <dsp:cNvPr id="0" name=""/>
        <dsp:cNvSpPr/>
      </dsp:nvSpPr>
      <dsp:spPr>
        <a:xfrm>
          <a:off x="0" y="0"/>
          <a:ext cx="2221610" cy="397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000" kern="1200" dirty="0" smtClean="0"/>
            <a:t>Sostegno a nuove categorie di innovatori sociali e di creativi  culturali </a:t>
          </a:r>
          <a:endParaRPr lang="it-IT" sz="1000" kern="1200" dirty="0"/>
        </a:p>
      </dsp:txBody>
      <dsp:txXfrm>
        <a:off x="19419" y="19419"/>
        <a:ext cx="2182772" cy="358962"/>
      </dsp:txXfrm>
    </dsp:sp>
  </dsp:spTree>
</dsp:drawing>
</file>

<file path=ppt/diagrams/drawing4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E7FA22-3B92-4733-BB85-6986F285FB2A}">
      <dsp:nvSpPr>
        <dsp:cNvPr id="0" name=""/>
        <dsp:cNvSpPr/>
      </dsp:nvSpPr>
      <dsp:spPr>
        <a:xfrm>
          <a:off x="0" y="0"/>
          <a:ext cx="7187995" cy="617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100" kern="1200" dirty="0" smtClean="0"/>
            <a:t>Diffusione della cultura dell’innovazione a tutti i livelli della società regionale</a:t>
          </a:r>
          <a:endParaRPr lang="it-IT" sz="1100" kern="1200" dirty="0"/>
        </a:p>
      </dsp:txBody>
      <dsp:txXfrm>
        <a:off x="30157" y="30157"/>
        <a:ext cx="7127681" cy="557446"/>
      </dsp:txXfrm>
    </dsp:sp>
  </dsp:spTree>
</dsp:drawing>
</file>

<file path=ppt/diagrams/drawing4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0754" y="193559"/>
          <a:ext cx="379955" cy="379955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290732" y="193559"/>
          <a:ext cx="2027202" cy="37995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Accordi di Programma/IT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r>
            <a:rPr lang="it-IT" sz="1500" i="1" kern="1200" dirty="0" smtClean="0">
              <a:latin typeface="Calibri" panose="020F0502020204030204" pitchFamily="34" charset="0"/>
            </a:rPr>
            <a:t>Procedure negoziali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290732" y="193559"/>
        <a:ext cx="2027202" cy="379955"/>
      </dsp:txXfrm>
    </dsp:sp>
  </dsp:spTree>
</dsp:drawing>
</file>

<file path=ppt/diagrams/drawing4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0984" y="139301"/>
          <a:ext cx="380822" cy="38082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291395" y="139301"/>
          <a:ext cx="2031827" cy="380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Contratti di Rete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latin typeface="Calibri" panose="020F0502020204030204" pitchFamily="34" charset="0"/>
            </a:rPr>
            <a:t>Procedure negoziali </a:t>
          </a:r>
          <a:endParaRPr lang="it-IT" sz="1500" b="0" i="1" kern="1200" dirty="0">
            <a:latin typeface="Calibri" panose="020F0502020204030204" pitchFamily="34" charset="0"/>
          </a:endParaRPr>
        </a:p>
      </dsp:txBody>
      <dsp:txXfrm>
        <a:off x="291395" y="139301"/>
        <a:ext cx="2031827" cy="380822"/>
      </dsp:txXfrm>
    </dsp:sp>
  </dsp:spTree>
</dsp:drawing>
</file>

<file path=ppt/diagrams/drawing4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Incentivi a Start up e spin off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4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Sostegno a Cluster Nazional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4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Cofinanziamento progetti Horizon 2020 </a:t>
          </a:r>
          <a:endParaRPr lang="it-IT" sz="1500" b="1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4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Sostegno a Fondi di Venture Capital 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4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7421" y="162133"/>
          <a:ext cx="442807" cy="44280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38825" y="162133"/>
          <a:ext cx="2362542" cy="4428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just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Incentiv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a</a:t>
          </a:r>
          <a:r>
            <a:rPr lang="it-IT" sz="15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 </a:t>
          </a:r>
          <a:r>
            <a:rPr lang="it-IT" sz="1500" b="0" i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brevettazione, prototipazione e copertura costi fase pre seed</a:t>
          </a:r>
          <a:endParaRPr lang="it-IT" sz="1500" b="0" i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338825" y="162133"/>
        <a:ext cx="2362542" cy="44280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B26EC88-0333-42E8-B340-C2B4FE18384A}">
      <dsp:nvSpPr>
        <dsp:cNvPr id="0" name=""/>
        <dsp:cNvSpPr/>
      </dsp:nvSpPr>
      <dsp:spPr>
        <a:xfrm>
          <a:off x="0" y="351"/>
          <a:ext cx="727280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920113-6D83-4974-923F-4CAA40CA2FDB}">
      <dsp:nvSpPr>
        <dsp:cNvPr id="0" name=""/>
        <dsp:cNvSpPr/>
      </dsp:nvSpPr>
      <dsp:spPr>
        <a:xfrm>
          <a:off x="0" y="351"/>
          <a:ext cx="7272808" cy="71937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t" anchorCtr="0">
          <a:noAutofit/>
        </a:bodyPr>
        <a:lstStyle/>
        <a:p>
          <a:pPr lvl="0" algn="l" defTabSz="1778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000" b="1" kern="1200" dirty="0" smtClean="0">
              <a:solidFill>
                <a:schemeClr val="accent1">
                  <a:lumMod val="75000"/>
                </a:schemeClr>
              </a:solidFill>
            </a:rPr>
            <a:t>Cosa dobbiamo fare</a:t>
          </a:r>
          <a:endParaRPr lang="it-IT" sz="4000" b="1" kern="1200" dirty="0">
            <a:solidFill>
              <a:schemeClr val="accent1">
                <a:lumMod val="75000"/>
              </a:schemeClr>
            </a:solidFill>
          </a:endParaRPr>
        </a:p>
      </dsp:txBody>
      <dsp:txXfrm>
        <a:off x="0" y="351"/>
        <a:ext cx="7272808" cy="719376"/>
      </dsp:txXfrm>
    </dsp:sp>
  </dsp:spTree>
</dsp:drawing>
</file>

<file path=ppt/diagrams/drawing5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Voucher Tecnologici e all’acquisizione di KIBS 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Incentivi all’innovazione sociale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5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418" y="177223"/>
          <a:ext cx="412627" cy="412627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5732" y="177223"/>
          <a:ext cx="2201520" cy="41262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kern="1200" dirty="0" smtClean="0">
              <a:latin typeface="Calibri" panose="020F0502020204030204" pitchFamily="34" charset="0"/>
            </a:rPr>
            <a:t>Azioni di attrazione di talenti</a:t>
          </a:r>
        </a:p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kern="1200" dirty="0" smtClean="0">
              <a:latin typeface="Calibri" panose="020F0502020204030204" pitchFamily="34" charset="0"/>
            </a:rPr>
            <a:t> </a:t>
          </a:r>
          <a:endParaRPr lang="it-IT" sz="1500" i="1" kern="1200" dirty="0">
            <a:latin typeface="Calibri" panose="020F0502020204030204" pitchFamily="34" charset="0"/>
          </a:endParaRPr>
        </a:p>
      </dsp:txBody>
      <dsp:txXfrm>
        <a:off x="315732" y="177223"/>
        <a:ext cx="2201520" cy="412627"/>
      </dsp:txXfrm>
    </dsp:sp>
  </dsp:spTree>
</dsp:drawing>
</file>

<file path=ppt/diagrams/drawing5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Procurement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precommerciale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7938" y="177701"/>
          <a:ext cx="411671" cy="4116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3774" y="177701"/>
          <a:ext cx="2196420" cy="411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Living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Labs e Fab Labs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3774" y="177701"/>
        <a:ext cx="2196420" cy="411671"/>
      </dsp:txXfrm>
    </dsp:sp>
  </dsp:spTree>
</dsp:drawing>
</file>

<file path=ppt/diagrams/drawing5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9058" y="177902"/>
          <a:ext cx="411269" cy="411269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4693" y="177902"/>
          <a:ext cx="2194275" cy="41126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Formazione</a:t>
          </a:r>
          <a:r>
            <a:rPr lang="it-IT" sz="1500" b="1" i="0" kern="1200" baseline="0" dirty="0" smtClean="0">
              <a:latin typeface="Calibri" panose="020F0502020204030204" pitchFamily="34" charset="0"/>
            </a:rPr>
            <a:t> continua e permanente su ICT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4693" y="177902"/>
        <a:ext cx="2194275" cy="411269"/>
      </dsp:txXfrm>
    </dsp:sp>
  </dsp:spTree>
</dsp:drawing>
</file>

<file path=ppt/diagrams/drawing5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07938" y="177701"/>
          <a:ext cx="411671" cy="4116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13774" y="177701"/>
          <a:ext cx="2196420" cy="4116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Sostegno a PEI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13774" y="177701"/>
        <a:ext cx="2196420" cy="411671"/>
      </dsp:txXfrm>
    </dsp:sp>
  </dsp:spTree>
</dsp:drawing>
</file>

<file path=ppt/diagrams/drawing5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2625" y="171176"/>
          <a:ext cx="424720" cy="42472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24985" y="171176"/>
          <a:ext cx="2266036" cy="424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Formazione Open </a:t>
          </a:r>
          <a:r>
            <a:rPr lang="it-IT" sz="1500" b="1" i="0" kern="1200" dirty="0" err="1" smtClean="0">
              <a:latin typeface="Calibri" panose="020F0502020204030204" pitchFamily="34" charset="0"/>
            </a:rPr>
            <a:t>Government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24985" y="171176"/>
        <a:ext cx="2266036" cy="424720"/>
      </dsp:txXfrm>
    </dsp:sp>
  </dsp:spTree>
</dsp:drawing>
</file>

<file path=ppt/diagrams/drawing5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4BC567D-A420-4605-8CAF-34A3430FBCC5}">
      <dsp:nvSpPr>
        <dsp:cNvPr id="0" name=""/>
        <dsp:cNvSpPr/>
      </dsp:nvSpPr>
      <dsp:spPr>
        <a:xfrm>
          <a:off x="112625" y="171176"/>
          <a:ext cx="424720" cy="424720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1EF007DE-E38E-41BB-9C84-DBA6EE5550E0}">
      <dsp:nvSpPr>
        <dsp:cNvPr id="0" name=""/>
        <dsp:cNvSpPr/>
      </dsp:nvSpPr>
      <dsp:spPr>
        <a:xfrm>
          <a:off x="324985" y="171176"/>
          <a:ext cx="2266036" cy="424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9050" rIns="0" bIns="19050" numCol="1" spcCol="1270" anchor="ctr" anchorCtr="0">
          <a:noAutofit/>
        </a:bodyPr>
        <a:lstStyle/>
        <a:p>
          <a:pPr lvl="0" algn="l" defTabSz="666750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it-IT" sz="1500" b="1" i="0" kern="1200" dirty="0" smtClean="0">
              <a:latin typeface="Calibri" panose="020F0502020204030204" pitchFamily="34" charset="0"/>
            </a:rPr>
            <a:t>Iniziative pilote di scambio transnazionale</a:t>
          </a:r>
          <a:endParaRPr lang="it-IT" sz="1500" b="1" i="0" kern="1200" dirty="0">
            <a:latin typeface="Calibri" panose="020F0502020204030204" pitchFamily="34" charset="0"/>
          </a:endParaRPr>
        </a:p>
      </dsp:txBody>
      <dsp:txXfrm>
        <a:off x="324985" y="171176"/>
        <a:ext cx="2266036" cy="424720"/>
      </dsp:txXfrm>
    </dsp:sp>
  </dsp:spTree>
</dsp:drawing>
</file>

<file path=ppt/diagrams/drawing5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40DB6F-53FC-4451-8412-D98A1010BCCC}">
      <dsp:nvSpPr>
        <dsp:cNvPr id="0" name=""/>
        <dsp:cNvSpPr/>
      </dsp:nvSpPr>
      <dsp:spPr>
        <a:xfrm>
          <a:off x="0" y="267"/>
          <a:ext cx="4053175" cy="36906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b="1" kern="1200" dirty="0" smtClean="0"/>
            <a:t>Delimitazione Perimetro d’Ambito </a:t>
          </a:r>
          <a:endParaRPr lang="it-IT" sz="1800" b="1" kern="1200" dirty="0"/>
        </a:p>
      </dsp:txBody>
      <dsp:txXfrm>
        <a:off x="18016" y="18283"/>
        <a:ext cx="4017143" cy="33303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C3370D-7B6A-4F3C-8C78-C38DF1D2FA31}">
      <dsp:nvSpPr>
        <dsp:cNvPr id="0" name=""/>
        <dsp:cNvSpPr/>
      </dsp:nvSpPr>
      <dsp:spPr>
        <a:xfrm rot="5400000">
          <a:off x="4084293" y="-577348"/>
          <a:ext cx="3974841" cy="5714554"/>
        </a:xfrm>
        <a:prstGeom prst="round2Same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Avere il quadro chiaro dove inserire il proprio contributo</a:t>
          </a:r>
          <a:endParaRPr lang="it-IT" sz="3600" b="0" kern="1200" dirty="0">
            <a:solidFill>
              <a:schemeClr val="accent1"/>
            </a:solidFill>
          </a:endParaRPr>
        </a:p>
        <a:p>
          <a:pPr marL="285750" lvl="1" indent="-285750" algn="l" defTabSz="1600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3600" b="0" kern="1200" dirty="0" smtClean="0">
              <a:solidFill>
                <a:schemeClr val="accent1"/>
              </a:solidFill>
            </a:rPr>
            <a:t>Definire le modalità per l’elaborazione e/o l’invio del contributo</a:t>
          </a:r>
          <a:endParaRPr lang="it-IT" sz="3600" b="0" kern="1200" dirty="0">
            <a:solidFill>
              <a:schemeClr val="accent1"/>
            </a:solidFill>
          </a:endParaRPr>
        </a:p>
      </dsp:txBody>
      <dsp:txXfrm rot="-5400000">
        <a:off x="3214437" y="486544"/>
        <a:ext cx="5520518" cy="3586769"/>
      </dsp:txXfrm>
    </dsp:sp>
    <dsp:sp modelId="{4B75031E-EAE2-44AE-A204-79AAE3CD8BF2}">
      <dsp:nvSpPr>
        <dsp:cNvPr id="0" name=""/>
        <dsp:cNvSpPr/>
      </dsp:nvSpPr>
      <dsp:spPr>
        <a:xfrm>
          <a:off x="0" y="0"/>
          <a:ext cx="3214437" cy="4968552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7640" tIns="83820" rIns="167640" bIns="83820" numCol="1" spcCol="1270" anchor="ctr" anchorCtr="0">
          <a:noAutofit/>
        </a:bodyPr>
        <a:lstStyle/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Avvio tavolo</a:t>
          </a:r>
        </a:p>
        <a:p>
          <a:pPr lvl="0" algn="ct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4400" b="1" kern="1200" dirty="0" smtClean="0"/>
            <a:t>8 maggio 2014</a:t>
          </a:r>
          <a:endParaRPr lang="it-IT" sz="4400" b="1" kern="1200" dirty="0"/>
        </a:p>
      </dsp:txBody>
      <dsp:txXfrm>
        <a:off x="156916" y="156916"/>
        <a:ext cx="2900605" cy="4654720"/>
      </dsp:txXfrm>
    </dsp:sp>
  </dsp:spTree>
</dsp:drawing>
</file>

<file path=ppt/diagrams/drawing6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6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6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761417-BEB6-4805-A512-975EAF68106A}">
      <dsp:nvSpPr>
        <dsp:cNvPr id="0" name=""/>
        <dsp:cNvSpPr/>
      </dsp:nvSpPr>
      <dsp:spPr>
        <a:xfrm>
          <a:off x="0" y="89948"/>
          <a:ext cx="6048672" cy="18673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A livello europeo l’ambito </a:t>
          </a:r>
          <a:r>
            <a:rPr lang="it-IT" sz="1400" b="1" kern="1200" dirty="0" smtClean="0"/>
            <a:t>ECONOMIA DEL MARE  </a:t>
          </a:r>
          <a:r>
            <a:rPr lang="it-IT" sz="1400" kern="1200" dirty="0" smtClean="0"/>
            <a:t>è sostenuto dal Terzo Programma Quadro (FP3, 1990-1993) che getta le basi attraverso le fasi preparatorie (</a:t>
          </a:r>
          <a:r>
            <a:rPr lang="it-IT" sz="1400" i="1" kern="1200" dirty="0" err="1" smtClean="0"/>
            <a:t>Feasibility</a:t>
          </a:r>
          <a:r>
            <a:rPr lang="it-IT" sz="1400" i="1" kern="1200" dirty="0" smtClean="0"/>
            <a:t> </a:t>
          </a:r>
          <a:r>
            <a:rPr lang="it-IT" sz="1400" i="1" kern="1200" dirty="0" err="1" smtClean="0"/>
            <a:t>Study</a:t>
          </a:r>
          <a:r>
            <a:rPr lang="it-IT" sz="1400" i="1" kern="1200" dirty="0" smtClean="0"/>
            <a:t> delle </a:t>
          </a:r>
          <a:r>
            <a:rPr lang="it-IT" sz="1400" i="1" kern="1200" dirty="0" err="1" smtClean="0"/>
            <a:t>infratrutture</a:t>
          </a:r>
          <a:r>
            <a:rPr lang="it-IT" sz="1400" kern="1200" dirty="0" smtClean="0"/>
            <a:t>). </a:t>
          </a:r>
          <a:r>
            <a:rPr lang="it-IT" sz="1400" b="1" kern="1200" dirty="0" smtClean="0"/>
            <a:t>Ma</a:t>
          </a:r>
          <a:r>
            <a:rPr lang="it-IT" sz="1400" kern="1200" dirty="0" smtClean="0"/>
            <a:t>rine </a:t>
          </a:r>
          <a:r>
            <a:rPr lang="it-IT" sz="1400" b="1" kern="1200" dirty="0" smtClean="0"/>
            <a:t>S</a:t>
          </a:r>
          <a:r>
            <a:rPr lang="it-IT" sz="1400" kern="1200" dirty="0" smtClean="0"/>
            <a:t>cience and </a:t>
          </a:r>
          <a:r>
            <a:rPr lang="it-IT" sz="1400" b="1" kern="1200" dirty="0" smtClean="0"/>
            <a:t>T</a:t>
          </a:r>
          <a:r>
            <a:rPr lang="it-IT" sz="1400" kern="1200" dirty="0" smtClean="0"/>
            <a:t>echnology Programme 1994-1998 (MAST) ha l’obiettivo di sviluppare la base scientifica e tecnologica per lo sfruttamento sostenibile dei sistemi marini, oltre a determinare il loro ruolo preciso nel cambiamento globale. La terza fase del programma MAST, avviato nell'ambito del Quarto programma quadro di RST (1994-1998),</a:t>
          </a:r>
          <a:r>
            <a:rPr lang="it-IT" sz="1400" b="1" kern="1200" dirty="0" smtClean="0"/>
            <a:t> </a:t>
          </a:r>
          <a:r>
            <a:rPr lang="it-IT" sz="1400" kern="1200" dirty="0" smtClean="0"/>
            <a:t>si è concentrata su quattro aree di ricerca: </a:t>
          </a:r>
          <a:endParaRPr lang="it-IT" sz="1400" kern="1200" dirty="0"/>
        </a:p>
      </dsp:txBody>
      <dsp:txXfrm>
        <a:off x="91155" y="181103"/>
        <a:ext cx="5866362" cy="1685010"/>
      </dsp:txXfrm>
    </dsp:sp>
    <dsp:sp modelId="{CE4BE37B-BF18-4195-AD15-CD9174D06114}">
      <dsp:nvSpPr>
        <dsp:cNvPr id="0" name=""/>
        <dsp:cNvSpPr/>
      </dsp:nvSpPr>
      <dsp:spPr>
        <a:xfrm>
          <a:off x="0" y="1997588"/>
          <a:ext cx="6048672" cy="58891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• </a:t>
          </a:r>
          <a:r>
            <a:rPr lang="it-IT" sz="1400" b="1" kern="1200" dirty="0" smtClean="0"/>
            <a:t>Scienze Marine </a:t>
          </a:r>
          <a:endParaRPr lang="it-IT" sz="1400" b="1" kern="1200" dirty="0"/>
        </a:p>
      </dsp:txBody>
      <dsp:txXfrm>
        <a:off x="28748" y="2026336"/>
        <a:ext cx="5991176" cy="531419"/>
      </dsp:txXfrm>
    </dsp:sp>
    <dsp:sp modelId="{69458446-B8CD-44C8-A694-A2DB6D87904B}">
      <dsp:nvSpPr>
        <dsp:cNvPr id="0" name=""/>
        <dsp:cNvSpPr/>
      </dsp:nvSpPr>
      <dsp:spPr>
        <a:xfrm>
          <a:off x="0" y="2626824"/>
          <a:ext cx="6048672" cy="56800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• </a:t>
          </a:r>
          <a:r>
            <a:rPr lang="it-IT" sz="1400" b="1" kern="1200" dirty="0" smtClean="0"/>
            <a:t>Ricerca marina strategica </a:t>
          </a:r>
          <a:endParaRPr lang="it-IT" sz="1400" b="1" kern="1200" dirty="0"/>
        </a:p>
      </dsp:txBody>
      <dsp:txXfrm>
        <a:off x="27728" y="2654552"/>
        <a:ext cx="5993216" cy="512545"/>
      </dsp:txXfrm>
    </dsp:sp>
    <dsp:sp modelId="{6B2488C1-FD55-42C3-9897-B6A644C4112E}">
      <dsp:nvSpPr>
        <dsp:cNvPr id="0" name=""/>
        <dsp:cNvSpPr/>
      </dsp:nvSpPr>
      <dsp:spPr>
        <a:xfrm>
          <a:off x="0" y="3235145"/>
          <a:ext cx="6048672" cy="61922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• </a:t>
          </a:r>
          <a:r>
            <a:rPr lang="it-IT" sz="1400" b="1" kern="1200" dirty="0" smtClean="0"/>
            <a:t>Tecnologia Marine </a:t>
          </a:r>
          <a:endParaRPr lang="it-IT" sz="1400" b="1" kern="1200" dirty="0"/>
        </a:p>
      </dsp:txBody>
      <dsp:txXfrm>
        <a:off x="30228" y="3265373"/>
        <a:ext cx="5988216" cy="558765"/>
      </dsp:txXfrm>
    </dsp:sp>
    <dsp:sp modelId="{E57595F0-48AB-4B34-A030-F8223A7ECDEF}">
      <dsp:nvSpPr>
        <dsp:cNvPr id="0" name=""/>
        <dsp:cNvSpPr/>
      </dsp:nvSpPr>
      <dsp:spPr>
        <a:xfrm>
          <a:off x="0" y="3864243"/>
          <a:ext cx="6048672" cy="561745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Sostenere iniziative</a:t>
          </a:r>
          <a:endParaRPr lang="it-IT" sz="1400" b="1" kern="1200" dirty="0"/>
        </a:p>
      </dsp:txBody>
      <dsp:txXfrm>
        <a:off x="27422" y="3891665"/>
        <a:ext cx="5993828" cy="506901"/>
      </dsp:txXfrm>
    </dsp:sp>
  </dsp:spTree>
</dsp:drawing>
</file>

<file path=ppt/diagrams/drawing6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6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6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491637-7FF8-4567-8107-AA2170073C5C}">
      <dsp:nvSpPr>
        <dsp:cNvPr id="0" name=""/>
        <dsp:cNvSpPr/>
      </dsp:nvSpPr>
      <dsp:spPr>
        <a:xfrm>
          <a:off x="0" y="0"/>
          <a:ext cx="676875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1828EA1-7866-428C-8CB6-E5D6ACF1E678}">
      <dsp:nvSpPr>
        <dsp:cNvPr id="0" name=""/>
        <dsp:cNvSpPr/>
      </dsp:nvSpPr>
      <dsp:spPr>
        <a:xfrm>
          <a:off x="0" y="0"/>
          <a:ext cx="6768752" cy="42229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La Commissione Europea ha indicato, nell’ambito della </a:t>
          </a:r>
          <a:r>
            <a:rPr lang="it-IT" sz="2400" b="1" kern="1200" dirty="0" smtClean="0"/>
            <a:t>Politica Marittima Integrata </a:t>
          </a:r>
          <a:r>
            <a:rPr lang="it-IT" sz="2400" kern="1200" dirty="0" smtClean="0"/>
            <a:t>inaugurata dal Libro Blu (COM2007(575)), la necessità (COM2009(544)) di un </a:t>
          </a:r>
          <a:r>
            <a:rPr lang="it-IT" sz="2400" b="1" kern="1200" dirty="0" smtClean="0"/>
            <a:t>sistema integrato di osservazione e previsione del mare </a:t>
          </a:r>
          <a:r>
            <a:rPr lang="it-IT" sz="2400" kern="1200" dirty="0" smtClean="0"/>
            <a:t>per utenti intermedi e finali che fornisca dati, prodotti e servizi per facilitare la gestione dell’ambiente costiero e marino, intervenire in presenza di rischi, implementare la sicurezza di zone sensibili, fornire visibilità sulla qualità dell’ambiente costiero e marino (EMODNET – Rete Europea per l’osservazione e la raccolta dati sull’ambiente marino). </a:t>
          </a:r>
          <a:endParaRPr lang="it-IT" sz="2400" kern="1200" dirty="0"/>
        </a:p>
      </dsp:txBody>
      <dsp:txXfrm>
        <a:off x="0" y="0"/>
        <a:ext cx="6768752" cy="4222923"/>
      </dsp:txXfrm>
    </dsp:sp>
  </dsp:spTree>
</dsp:drawing>
</file>

<file path=ppt/diagrams/drawing6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6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6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8196B3-124A-4962-8B07-3D313D8A98CC}">
      <dsp:nvSpPr>
        <dsp:cNvPr id="0" name=""/>
        <dsp:cNvSpPr/>
      </dsp:nvSpPr>
      <dsp:spPr>
        <a:xfrm>
          <a:off x="0" y="38860"/>
          <a:ext cx="4572000" cy="278459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just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700" kern="1200" dirty="0" smtClean="0"/>
            <a:t>Le indicazioni della Commissione Europea hanno poi trovato ulteriore conferma nella </a:t>
          </a:r>
          <a:r>
            <a:rPr lang="it-IT" sz="1700" b="1" kern="1200" dirty="0" smtClean="0"/>
            <a:t>Direttiva quadro sulla Strategia per l’Ambiente Marino </a:t>
          </a:r>
          <a:r>
            <a:rPr lang="it-IT" sz="1700" kern="1200" dirty="0" smtClean="0"/>
            <a:t>(2008/56/CE del 17.06.08), con la quale sono definite le </a:t>
          </a:r>
          <a:r>
            <a:rPr lang="it-IT" sz="1700" b="1" kern="1200" dirty="0" smtClean="0"/>
            <a:t>scadenze </a:t>
          </a:r>
          <a:r>
            <a:rPr lang="it-IT" sz="1700" kern="1200" dirty="0" smtClean="0"/>
            <a:t>in termini di azioni di monitoraggio </a:t>
          </a:r>
          <a:r>
            <a:rPr lang="it-IT" sz="1700" b="1" kern="1200" dirty="0" smtClean="0"/>
            <a:t>da ottemperare </a:t>
          </a:r>
          <a:r>
            <a:rPr lang="it-IT" sz="1700" kern="1200" dirty="0" smtClean="0"/>
            <a:t>da parte degli Stati Membri, per il conseguimento entro il 2020 di un buono stato ecologico a tutela delle risorse su cui poggiano le attività economiche e sociali correlate al mare. </a:t>
          </a:r>
          <a:endParaRPr lang="it-IT" sz="1700" kern="1200" dirty="0"/>
        </a:p>
      </dsp:txBody>
      <dsp:txXfrm>
        <a:off x="135933" y="174793"/>
        <a:ext cx="4300134" cy="2512733"/>
      </dsp:txXfrm>
    </dsp:sp>
  </dsp:spTree>
</dsp:drawing>
</file>

<file path=ppt/diagrams/drawing6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75031E-EAE2-44AE-A204-79AAE3CD8BF2}">
      <dsp:nvSpPr>
        <dsp:cNvPr id="0" name=""/>
        <dsp:cNvSpPr/>
      </dsp:nvSpPr>
      <dsp:spPr>
        <a:xfrm>
          <a:off x="1751" y="0"/>
          <a:ext cx="1792909" cy="4533321"/>
        </a:xfrm>
        <a:prstGeom prst="roundRect">
          <a:avLst/>
        </a:prstGeom>
        <a:gradFill rotWithShape="0">
          <a:gsLst>
            <a:gs pos="0">
              <a:schemeClr val="accent2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b="1" kern="1200" dirty="0" smtClean="0"/>
            <a:t>TAVOLI TEMATICI</a:t>
          </a:r>
          <a:endParaRPr lang="it-IT" sz="2400" b="1" kern="1200" dirty="0"/>
        </a:p>
      </dsp:txBody>
      <dsp:txXfrm>
        <a:off x="89274" y="87523"/>
        <a:ext cx="1617863" cy="4358275"/>
      </dsp:txXfrm>
    </dsp:sp>
  </dsp:spTree>
</dsp:drawing>
</file>

<file path=ppt/diagrams/drawing7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7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8196B3-124A-4962-8B07-3D313D8A98CC}">
      <dsp:nvSpPr>
        <dsp:cNvPr id="0" name=""/>
        <dsp:cNvSpPr/>
      </dsp:nvSpPr>
      <dsp:spPr>
        <a:xfrm>
          <a:off x="0" y="22019"/>
          <a:ext cx="5720380" cy="281828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just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In ambito UNESCO-IOC (Joint WMO-IOC </a:t>
          </a:r>
          <a:r>
            <a:rPr lang="it-IT" sz="1400" kern="1200" dirty="0" err="1" smtClean="0"/>
            <a:t>Committee</a:t>
          </a:r>
          <a:r>
            <a:rPr lang="it-IT" sz="1400" kern="1200" dirty="0" smtClean="0"/>
            <a:t> in Marine </a:t>
          </a:r>
          <a:r>
            <a:rPr lang="it-IT" sz="1400" kern="1200" dirty="0" err="1" smtClean="0"/>
            <a:t>Meteorology</a:t>
          </a:r>
          <a:r>
            <a:rPr lang="it-IT" sz="1400" kern="1200" dirty="0" smtClean="0"/>
            <a:t>) e nel Group for Earth </a:t>
          </a:r>
          <a:r>
            <a:rPr lang="it-IT" sz="1400" kern="1200" dirty="0" err="1" smtClean="0"/>
            <a:t>Observation</a:t>
          </a:r>
          <a:r>
            <a:rPr lang="it-IT" sz="1400" kern="1200" dirty="0" smtClean="0"/>
            <a:t> (GEO - iniziativa del G8), come nell'agenda della Commissione Europea (Global </a:t>
          </a:r>
          <a:r>
            <a:rPr lang="it-IT" sz="1400" kern="1200" dirty="0" err="1" smtClean="0"/>
            <a:t>Monitoring</a:t>
          </a:r>
          <a:r>
            <a:rPr lang="it-IT" sz="1400" kern="1200" dirty="0" smtClean="0"/>
            <a:t> for Environment and Security), </a:t>
          </a:r>
          <a:r>
            <a:rPr lang="it-IT" sz="1400" b="1" kern="1200" dirty="0" smtClean="0"/>
            <a:t>l'Oceanografia Operativa </a:t>
          </a:r>
          <a:r>
            <a:rPr lang="it-IT" sz="1400" kern="1200" dirty="0" smtClean="0"/>
            <a:t>ha una notevole importanza, </a:t>
          </a:r>
          <a:r>
            <a:rPr lang="it-IT" sz="1400" b="1" kern="1200" dirty="0" smtClean="0"/>
            <a:t>equivalente </a:t>
          </a:r>
          <a:r>
            <a:rPr lang="it-IT" sz="1400" kern="1200" dirty="0" smtClean="0"/>
            <a:t>a quella dei </a:t>
          </a:r>
          <a:r>
            <a:rPr lang="it-IT" sz="1400" b="1" kern="1200" dirty="0" smtClean="0"/>
            <a:t>'Servizi Meteorologici</a:t>
          </a:r>
          <a:r>
            <a:rPr lang="it-IT" sz="1400" kern="1200" dirty="0" smtClean="0"/>
            <a:t>', con lo scopo di fornire prodotti e servizi legati ad osservazioni e previsioni dello stato futuro dell'ambiente marino; attività che necessita della più ampia collaborazione internazionale in termini di organizzazione di raccolta dati e di modellistica previsionale.</a:t>
          </a:r>
          <a:endParaRPr lang="it-IT" sz="1400" kern="1200" dirty="0"/>
        </a:p>
      </dsp:txBody>
      <dsp:txXfrm>
        <a:off x="137577" y="159596"/>
        <a:ext cx="5445226" cy="2543128"/>
      </dsp:txXfrm>
    </dsp:sp>
  </dsp:spTree>
</dsp:drawing>
</file>

<file path=ppt/diagrams/drawing7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51D5DB-8153-4187-845E-A036C6446B42}">
      <dsp:nvSpPr>
        <dsp:cNvPr id="0" name=""/>
        <dsp:cNvSpPr/>
      </dsp:nvSpPr>
      <dsp:spPr>
        <a:xfrm>
          <a:off x="0" y="65851"/>
          <a:ext cx="5976664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smtClean="0"/>
            <a:t>•Contenimento dei costi di acquisizione e di gestione dei mezzi navali fino alla radiazione </a:t>
          </a:r>
          <a:endParaRPr lang="it-IT" sz="1600" kern="1200"/>
        </a:p>
      </dsp:txBody>
      <dsp:txXfrm>
        <a:off x="31070" y="96921"/>
        <a:ext cx="5914524" cy="574340"/>
      </dsp:txXfrm>
    </dsp:sp>
    <dsp:sp modelId="{625E8A7F-3F52-4E17-BB22-AB4A49D0B593}">
      <dsp:nvSpPr>
        <dsp:cNvPr id="0" name=""/>
        <dsp:cNvSpPr/>
      </dsp:nvSpPr>
      <dsp:spPr>
        <a:xfrm>
          <a:off x="0" y="748411"/>
          <a:ext cx="5976664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smtClean="0"/>
            <a:t>•Aumento efficienza energetica </a:t>
          </a:r>
          <a:endParaRPr lang="it-IT" sz="1600" kern="1200"/>
        </a:p>
      </dsp:txBody>
      <dsp:txXfrm>
        <a:off x="31070" y="779481"/>
        <a:ext cx="5914524" cy="574340"/>
      </dsp:txXfrm>
    </dsp:sp>
    <dsp:sp modelId="{25040816-6AE0-4679-9259-54A0DC33AA8A}">
      <dsp:nvSpPr>
        <dsp:cNvPr id="0" name=""/>
        <dsp:cNvSpPr/>
      </dsp:nvSpPr>
      <dsp:spPr>
        <a:xfrm>
          <a:off x="0" y="1430971"/>
          <a:ext cx="5976664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smtClean="0"/>
            <a:t>•Riconfigurabilità delle Unità Navali </a:t>
          </a:r>
          <a:endParaRPr lang="it-IT" sz="1600" kern="1200"/>
        </a:p>
      </dsp:txBody>
      <dsp:txXfrm>
        <a:off x="31070" y="1462041"/>
        <a:ext cx="5914524" cy="574340"/>
      </dsp:txXfrm>
    </dsp:sp>
    <dsp:sp modelId="{FD395977-E119-4333-B697-0F8BC8E95A28}">
      <dsp:nvSpPr>
        <dsp:cNvPr id="0" name=""/>
        <dsp:cNvSpPr/>
      </dsp:nvSpPr>
      <dsp:spPr>
        <a:xfrm>
          <a:off x="0" y="2113531"/>
          <a:ext cx="5976664" cy="63648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smtClean="0"/>
            <a:t>•Sicurezza aumentata: nell’esercizio, negli incidenti e negli abbordaggi/attentati </a:t>
          </a:r>
          <a:endParaRPr lang="it-IT" sz="1600" kern="1200"/>
        </a:p>
      </dsp:txBody>
      <dsp:txXfrm>
        <a:off x="31070" y="2144601"/>
        <a:ext cx="5914524" cy="574340"/>
      </dsp:txXfrm>
    </dsp:sp>
  </dsp:spTree>
</dsp:drawing>
</file>

<file path=ppt/diagrams/drawing7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7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7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51D5DB-8153-4187-845E-A036C6446B42}">
      <dsp:nvSpPr>
        <dsp:cNvPr id="0" name=""/>
        <dsp:cNvSpPr/>
      </dsp:nvSpPr>
      <dsp:spPr>
        <a:xfrm>
          <a:off x="0" y="116424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dirty="0" smtClean="0"/>
            <a:t>•Efficientamento di sistemi per risparmio energetico di bordo </a:t>
          </a:r>
          <a:endParaRPr lang="it-IT" sz="1500" kern="1200" dirty="0"/>
        </a:p>
      </dsp:txBody>
      <dsp:txXfrm>
        <a:off x="17563" y="133987"/>
        <a:ext cx="5941538" cy="324648"/>
      </dsp:txXfrm>
    </dsp:sp>
    <dsp:sp modelId="{A9C08C92-DF53-4AD3-B8B9-4C925B815A1A}">
      <dsp:nvSpPr>
        <dsp:cNvPr id="0" name=""/>
        <dsp:cNvSpPr/>
      </dsp:nvSpPr>
      <dsp:spPr>
        <a:xfrm>
          <a:off x="0" y="519399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Riduzione rumore e vibrazioni </a:t>
          </a:r>
          <a:endParaRPr lang="it-IT" sz="1500" kern="1200" dirty="0"/>
        </a:p>
      </dsp:txBody>
      <dsp:txXfrm>
        <a:off x="17563" y="536962"/>
        <a:ext cx="5941538" cy="324648"/>
      </dsp:txXfrm>
    </dsp:sp>
    <dsp:sp modelId="{DF19613E-63B5-4A3E-AED1-AB9DEC77B791}">
      <dsp:nvSpPr>
        <dsp:cNvPr id="0" name=""/>
        <dsp:cNvSpPr/>
      </dsp:nvSpPr>
      <dsp:spPr>
        <a:xfrm>
          <a:off x="0" y="922374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Idrodinamica per propulsione navale </a:t>
          </a:r>
          <a:endParaRPr lang="it-IT" sz="1500" kern="1200" dirty="0"/>
        </a:p>
      </dsp:txBody>
      <dsp:txXfrm>
        <a:off x="17563" y="939937"/>
        <a:ext cx="5941538" cy="324648"/>
      </dsp:txXfrm>
    </dsp:sp>
    <dsp:sp modelId="{7C4D7C44-00A3-4EAA-A5D1-97497DAA9C42}">
      <dsp:nvSpPr>
        <dsp:cNvPr id="0" name=""/>
        <dsp:cNvSpPr/>
      </dsp:nvSpPr>
      <dsp:spPr>
        <a:xfrm>
          <a:off x="0" y="1325349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Soluzioni avanzate di tecniche di manutenzione per aumento MTBF </a:t>
          </a:r>
          <a:endParaRPr lang="it-IT" sz="1500" kern="1200" dirty="0"/>
        </a:p>
      </dsp:txBody>
      <dsp:txXfrm>
        <a:off x="17563" y="1342912"/>
        <a:ext cx="5941538" cy="324648"/>
      </dsp:txXfrm>
    </dsp:sp>
    <dsp:sp modelId="{9C366311-DCE6-4D21-AA79-43371635BE28}">
      <dsp:nvSpPr>
        <dsp:cNvPr id="0" name=""/>
        <dsp:cNvSpPr/>
      </dsp:nvSpPr>
      <dsp:spPr>
        <a:xfrm>
          <a:off x="0" y="1728324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Tecnologie a supporto degli sviluppi di mezzi offshore </a:t>
          </a:r>
          <a:endParaRPr lang="it-IT" sz="1500" kern="1200" dirty="0"/>
        </a:p>
      </dsp:txBody>
      <dsp:txXfrm>
        <a:off x="17563" y="1745887"/>
        <a:ext cx="5941538" cy="324648"/>
      </dsp:txXfrm>
    </dsp:sp>
    <dsp:sp modelId="{77D368DB-C04D-4C16-9E12-E517B5F7EC0F}">
      <dsp:nvSpPr>
        <dsp:cNvPr id="0" name=""/>
        <dsp:cNvSpPr/>
      </dsp:nvSpPr>
      <dsp:spPr>
        <a:xfrm>
          <a:off x="0" y="2131299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Tecnologie ed architetture per mezzi “Unmanned” per blue water </a:t>
          </a:r>
          <a:endParaRPr lang="it-IT" sz="1500" kern="1200" dirty="0"/>
        </a:p>
      </dsp:txBody>
      <dsp:txXfrm>
        <a:off x="17563" y="2148862"/>
        <a:ext cx="5941538" cy="324648"/>
      </dsp:txXfrm>
    </dsp:sp>
    <dsp:sp modelId="{68A4BC4E-5D6A-42DF-A1D8-FDA8912A96AF}">
      <dsp:nvSpPr>
        <dsp:cNvPr id="0" name=""/>
        <dsp:cNvSpPr/>
      </dsp:nvSpPr>
      <dsp:spPr>
        <a:xfrm>
          <a:off x="0" y="2534274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Materiali ecocompatibili sia nei processi di costruzione che di dismissione </a:t>
          </a:r>
          <a:endParaRPr lang="it-IT" sz="1500" kern="1200" dirty="0"/>
        </a:p>
      </dsp:txBody>
      <dsp:txXfrm>
        <a:off x="17563" y="2551837"/>
        <a:ext cx="5941538" cy="324648"/>
      </dsp:txXfrm>
    </dsp:sp>
    <dsp:sp modelId="{3EDB84B8-5424-4A51-9295-5DD6C18FAE56}">
      <dsp:nvSpPr>
        <dsp:cNvPr id="0" name=""/>
        <dsp:cNvSpPr/>
      </dsp:nvSpPr>
      <dsp:spPr>
        <a:xfrm>
          <a:off x="0" y="2937249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Monitoraggio ambientale </a:t>
          </a:r>
          <a:endParaRPr lang="it-IT" sz="1500" kern="1200" dirty="0"/>
        </a:p>
      </dsp:txBody>
      <dsp:txXfrm>
        <a:off x="17563" y="2954812"/>
        <a:ext cx="5941538" cy="324648"/>
      </dsp:txXfrm>
    </dsp:sp>
    <dsp:sp modelId="{D2880916-0DEF-422B-A9A4-E7D62C2DA3CF}">
      <dsp:nvSpPr>
        <dsp:cNvPr id="0" name=""/>
        <dsp:cNvSpPr/>
      </dsp:nvSpPr>
      <dsp:spPr>
        <a:xfrm>
          <a:off x="0" y="3340224"/>
          <a:ext cx="5976664" cy="359774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•Utilizzo combustibili zero emissioni (fuel cells) </a:t>
          </a:r>
          <a:endParaRPr lang="it-IT" sz="1500" kern="1200" dirty="0"/>
        </a:p>
      </dsp:txBody>
      <dsp:txXfrm>
        <a:off x="17563" y="3357787"/>
        <a:ext cx="5941538" cy="324648"/>
      </dsp:txXfrm>
    </dsp:sp>
  </dsp:spTree>
</dsp:drawing>
</file>

<file path=ppt/diagrams/drawing7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7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7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7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e tendenze internazionali e nazionali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3CC59A-ED65-4B0D-9470-3F18E593A142}">
      <dsp:nvSpPr>
        <dsp:cNvPr id="0" name=""/>
        <dsp:cNvSpPr/>
      </dsp:nvSpPr>
      <dsp:spPr>
        <a:xfrm>
          <a:off x="0" y="0"/>
          <a:ext cx="7574833" cy="0"/>
        </a:xfrm>
        <a:prstGeom prst="line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E4F97BB-80AE-4B89-8B32-FB05A53BD028}">
      <dsp:nvSpPr>
        <dsp:cNvPr id="0" name=""/>
        <dsp:cNvSpPr/>
      </dsp:nvSpPr>
      <dsp:spPr>
        <a:xfrm>
          <a:off x="0" y="0"/>
          <a:ext cx="7574833" cy="72976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it-IT" sz="1800" b="1" i="0" kern="1200" dirty="0">
            <a:solidFill>
              <a:srgbClr val="C00000"/>
            </a:solidFill>
          </a:endParaRPr>
        </a:p>
      </dsp:txBody>
      <dsp:txXfrm>
        <a:off x="0" y="0"/>
        <a:ext cx="7574833" cy="729762"/>
      </dsp:txXfrm>
    </dsp:sp>
  </dsp:spTree>
</dsp:drawing>
</file>

<file path=ppt/diagrams/drawing8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97FDF0-B9D1-4451-88E5-ECC7C842A9B7}">
      <dsp:nvSpPr>
        <dsp:cNvPr id="0" name=""/>
        <dsp:cNvSpPr/>
      </dsp:nvSpPr>
      <dsp:spPr>
        <a:xfrm>
          <a:off x="0" y="11338"/>
          <a:ext cx="2677588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FINCANTIERI</a:t>
          </a:r>
          <a:endParaRPr lang="it-IT" sz="1800" kern="1200" dirty="0"/>
        </a:p>
      </dsp:txBody>
      <dsp:txXfrm>
        <a:off x="21075" y="32413"/>
        <a:ext cx="2635438" cy="389580"/>
      </dsp:txXfrm>
    </dsp:sp>
    <dsp:sp modelId="{5E1783F0-D1AA-4FE1-8E77-278DC0337E1D}">
      <dsp:nvSpPr>
        <dsp:cNvPr id="0" name=""/>
        <dsp:cNvSpPr/>
      </dsp:nvSpPr>
      <dsp:spPr>
        <a:xfrm>
          <a:off x="0" y="494908"/>
          <a:ext cx="2677588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INTERMARINE</a:t>
          </a:r>
          <a:endParaRPr lang="it-IT" sz="1800" kern="1200" dirty="0"/>
        </a:p>
      </dsp:txBody>
      <dsp:txXfrm>
        <a:off x="21075" y="515983"/>
        <a:ext cx="2635438" cy="389580"/>
      </dsp:txXfrm>
    </dsp:sp>
    <dsp:sp modelId="{BEE0A770-6A34-4152-AE46-D6E5339683B7}">
      <dsp:nvSpPr>
        <dsp:cNvPr id="0" name=""/>
        <dsp:cNvSpPr/>
      </dsp:nvSpPr>
      <dsp:spPr>
        <a:xfrm>
          <a:off x="0" y="978478"/>
          <a:ext cx="2677588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Termomeccanica</a:t>
          </a:r>
          <a:endParaRPr lang="it-IT" sz="1800" kern="1200" dirty="0"/>
        </a:p>
      </dsp:txBody>
      <dsp:txXfrm>
        <a:off x="21075" y="999553"/>
        <a:ext cx="2635438" cy="389580"/>
      </dsp:txXfrm>
    </dsp:sp>
    <dsp:sp modelId="{AC6B2BCD-3C48-43EF-A02F-BA4A3D338851}">
      <dsp:nvSpPr>
        <dsp:cNvPr id="0" name=""/>
        <dsp:cNvSpPr/>
      </dsp:nvSpPr>
      <dsp:spPr>
        <a:xfrm>
          <a:off x="0" y="1462048"/>
          <a:ext cx="2677588" cy="43173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smtClean="0"/>
            <a:t>FINMECCANICA </a:t>
          </a:r>
          <a:endParaRPr lang="it-IT" sz="1800" kern="1200"/>
        </a:p>
      </dsp:txBody>
      <dsp:txXfrm>
        <a:off x="21075" y="1483123"/>
        <a:ext cx="2635438" cy="389580"/>
      </dsp:txXfrm>
    </dsp:sp>
  </dsp:spTree>
</dsp:drawing>
</file>

<file path=ppt/diagrams/drawing8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6604DD6-FA5A-4280-9650-3348635E6B08}">
      <dsp:nvSpPr>
        <dsp:cNvPr id="0" name=""/>
        <dsp:cNvSpPr/>
      </dsp:nvSpPr>
      <dsp:spPr>
        <a:xfrm>
          <a:off x="0" y="310857"/>
          <a:ext cx="3528392" cy="8798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kern="1200" dirty="0" smtClean="0"/>
            <a:t>In ITALIA esistono centri di comprovata eccellenza per il supporto allo sviluppo delle tematiche di ricerca evidenziate: </a:t>
          </a:r>
          <a:endParaRPr lang="it-IT" sz="1600" kern="1200" dirty="0"/>
        </a:p>
      </dsp:txBody>
      <dsp:txXfrm>
        <a:off x="42950" y="353807"/>
        <a:ext cx="3442492" cy="793940"/>
      </dsp:txXfrm>
    </dsp:sp>
  </dsp:spTree>
</dsp:drawing>
</file>

<file path=ppt/diagrams/drawing8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BBF27C-4B46-4A04-B2A6-F360DCE07652}">
      <dsp:nvSpPr>
        <dsp:cNvPr id="0" name=""/>
        <dsp:cNvSpPr/>
      </dsp:nvSpPr>
      <dsp:spPr>
        <a:xfrm>
          <a:off x="0" y="359906"/>
          <a:ext cx="3600400" cy="2878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Cetena </a:t>
          </a:r>
          <a:endParaRPr lang="it-IT" sz="1200" kern="1200"/>
        </a:p>
      </dsp:txBody>
      <dsp:txXfrm>
        <a:off x="14050" y="373956"/>
        <a:ext cx="3572300" cy="259719"/>
      </dsp:txXfrm>
    </dsp:sp>
    <dsp:sp modelId="{0F445972-0B73-402E-93D8-A9179C2F7CC6}">
      <dsp:nvSpPr>
        <dsp:cNvPr id="0" name=""/>
        <dsp:cNvSpPr/>
      </dsp:nvSpPr>
      <dsp:spPr>
        <a:xfrm>
          <a:off x="0" y="682286"/>
          <a:ext cx="3600400" cy="2878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•UNIVERSITA’ di GENOVA NAPOLI, TRIESTE, MESSINA </a:t>
          </a:r>
          <a:endParaRPr lang="it-IT" sz="1200" kern="1200"/>
        </a:p>
      </dsp:txBody>
      <dsp:txXfrm>
        <a:off x="14050" y="696336"/>
        <a:ext cx="3572300" cy="259719"/>
      </dsp:txXfrm>
    </dsp:sp>
    <dsp:sp modelId="{0D0FEAA0-1194-417E-A725-6C0D1C7A380E}">
      <dsp:nvSpPr>
        <dsp:cNvPr id="0" name=""/>
        <dsp:cNvSpPr/>
      </dsp:nvSpPr>
      <dsp:spPr>
        <a:xfrm>
          <a:off x="0" y="1004666"/>
          <a:ext cx="3600400" cy="2878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•CNR (INSEAN, ISSIA, ITAE…) </a:t>
          </a:r>
          <a:endParaRPr lang="it-IT" sz="1200" kern="1200"/>
        </a:p>
      </dsp:txBody>
      <dsp:txXfrm>
        <a:off x="14050" y="1018716"/>
        <a:ext cx="3572300" cy="259719"/>
      </dsp:txXfrm>
    </dsp:sp>
    <dsp:sp modelId="{A4AD3FDE-A000-4690-BF8B-A1A7186F7573}">
      <dsp:nvSpPr>
        <dsp:cNvPr id="0" name=""/>
        <dsp:cNvSpPr/>
      </dsp:nvSpPr>
      <dsp:spPr>
        <a:xfrm>
          <a:off x="0" y="1327046"/>
          <a:ext cx="3600400" cy="2878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•NURC </a:t>
          </a:r>
          <a:endParaRPr lang="it-IT" sz="1200" kern="1200"/>
        </a:p>
      </dsp:txBody>
      <dsp:txXfrm>
        <a:off x="14050" y="1341096"/>
        <a:ext cx="3572300" cy="259719"/>
      </dsp:txXfrm>
    </dsp:sp>
    <dsp:sp modelId="{7AD259D3-1D34-46AC-BF3B-33492A9FD8E5}">
      <dsp:nvSpPr>
        <dsp:cNvPr id="0" name=""/>
        <dsp:cNvSpPr/>
      </dsp:nvSpPr>
      <dsp:spPr>
        <a:xfrm>
          <a:off x="0" y="1649426"/>
          <a:ext cx="3600400" cy="2878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•RINA </a:t>
          </a:r>
          <a:endParaRPr lang="it-IT" sz="1200" kern="1200"/>
        </a:p>
      </dsp:txBody>
      <dsp:txXfrm>
        <a:off x="14050" y="1663476"/>
        <a:ext cx="3572300" cy="259719"/>
      </dsp:txXfrm>
    </dsp:sp>
    <dsp:sp modelId="{354F76DE-D69E-4FC3-86B6-54457569858F}">
      <dsp:nvSpPr>
        <dsp:cNvPr id="0" name=""/>
        <dsp:cNvSpPr/>
      </dsp:nvSpPr>
      <dsp:spPr>
        <a:xfrm>
          <a:off x="0" y="1971806"/>
          <a:ext cx="3600400" cy="287819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•IDS</a:t>
          </a:r>
          <a:endParaRPr lang="it-IT" sz="1200" kern="1200"/>
        </a:p>
      </dsp:txBody>
      <dsp:txXfrm>
        <a:off x="14050" y="1985856"/>
        <a:ext cx="3572300" cy="259719"/>
      </dsp:txXfrm>
    </dsp:sp>
  </dsp:spTree>
</dsp:drawing>
</file>

<file path=ppt/diagrams/drawing8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EC256FC-9A38-4083-BFE1-F68DE52602FB}">
      <dsp:nvSpPr>
        <dsp:cNvPr id="0" name=""/>
        <dsp:cNvSpPr/>
      </dsp:nvSpPr>
      <dsp:spPr>
        <a:xfrm>
          <a:off x="0" y="0"/>
          <a:ext cx="4104456" cy="72007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600" b="1" kern="1200" dirty="0" smtClean="0">
              <a:solidFill>
                <a:schemeClr val="bg2">
                  <a:lumMod val="25000"/>
                </a:schemeClr>
              </a:solidFill>
            </a:rPr>
            <a:t>ECONOMIA DEL MARE IN SICILIA</a:t>
          </a:r>
          <a:endParaRPr lang="it-IT" sz="1600" b="1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0" y="0"/>
        <a:ext cx="4104456" cy="720079"/>
      </dsp:txXfrm>
    </dsp:sp>
  </dsp:spTree>
</dsp:drawing>
</file>

<file path=ppt/diagrams/drawing8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86960"/>
          <a:ext cx="2520280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80319"/>
          <a:ext cx="1764196" cy="41328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1. Sistema produttivo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46189" y="100494"/>
        <a:ext cx="1723846" cy="372930"/>
      </dsp:txXfrm>
    </dsp:sp>
  </dsp:spTree>
</dsp:drawing>
</file>

<file path=ppt/diagrams/drawing8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La posizione competitiva della Sicilia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8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6FA827-A18D-4D12-975C-89F7224F3D1F}">
      <dsp:nvSpPr>
        <dsp:cNvPr id="0" name=""/>
        <dsp:cNvSpPr/>
      </dsp:nvSpPr>
      <dsp:spPr>
        <a:xfrm>
          <a:off x="3058" y="0"/>
          <a:ext cx="6258578" cy="1152128"/>
        </a:xfrm>
        <a:prstGeom prst="roundRect">
          <a:avLst>
            <a:gd name="adj" fmla="val 10000"/>
          </a:avLst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/>
            <a:t>In Sicilia vi sono alcuni elementi abilitanti, quali la presenza di fattori endogeni rivelanti e la presenza di competenze scientifiche tecnologiche sufficientemente sviluppate, seppur in assenza di un tessuto produttivo tradizionale ma ampio e consolidato. </a:t>
          </a:r>
          <a:endParaRPr lang="it-IT" sz="1800" b="1" i="1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3058" y="0"/>
        <a:ext cx="6258578" cy="345638"/>
      </dsp:txXfrm>
    </dsp:sp>
  </dsp:spTree>
</dsp:drawing>
</file>

<file path=ppt/diagrams/drawing8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08EE95-ED0B-4F42-B9BB-F97379F4DC07}">
      <dsp:nvSpPr>
        <dsp:cNvPr id="0" name=""/>
        <dsp:cNvSpPr/>
      </dsp:nvSpPr>
      <dsp:spPr>
        <a:xfrm>
          <a:off x="0" y="50606"/>
          <a:ext cx="6552728" cy="47670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collocazione geografica e nell’ “abbondanza di materia prima” che contraddistingue la Sicilia</a:t>
          </a:r>
          <a:endParaRPr lang="it-IT" sz="1200" kern="1200"/>
        </a:p>
      </dsp:txBody>
      <dsp:txXfrm>
        <a:off x="23271" y="73877"/>
        <a:ext cx="6506186" cy="430159"/>
      </dsp:txXfrm>
    </dsp:sp>
    <dsp:sp modelId="{662E9A99-0599-479A-86DF-FDCDE7D434EA}">
      <dsp:nvSpPr>
        <dsp:cNvPr id="0" name=""/>
        <dsp:cNvSpPr/>
      </dsp:nvSpPr>
      <dsp:spPr>
        <a:xfrm>
          <a:off x="0" y="561868"/>
          <a:ext cx="6552728" cy="47670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presenza di più distretti tecnologici a vario titolo interessati a entrambi questi ambiti  </a:t>
          </a:r>
          <a:endParaRPr lang="it-IT" sz="1200" kern="1200"/>
        </a:p>
      </dsp:txBody>
      <dsp:txXfrm>
        <a:off x="23271" y="585139"/>
        <a:ext cx="6506186" cy="430159"/>
      </dsp:txXfrm>
    </dsp:sp>
    <dsp:sp modelId="{F07A23B6-2A48-4DB0-BF5F-D9ECA7DC8F36}">
      <dsp:nvSpPr>
        <dsp:cNvPr id="0" name=""/>
        <dsp:cNvSpPr/>
      </dsp:nvSpPr>
      <dsp:spPr>
        <a:xfrm>
          <a:off x="0" y="1073129"/>
          <a:ext cx="6552728" cy="476701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kern="1200" smtClean="0"/>
            <a:t>presenza di un tessuto produttivo, già in riconversione o con esigenze di riconversione/differenziazioni evidenti, che vanta competenze prontamente spendibili.  </a:t>
          </a:r>
          <a:endParaRPr lang="it-IT" sz="1200" kern="1200"/>
        </a:p>
      </dsp:txBody>
      <dsp:txXfrm>
        <a:off x="23271" y="1096400"/>
        <a:ext cx="6506186" cy="430159"/>
      </dsp:txXfrm>
    </dsp:sp>
  </dsp:spTree>
</dsp:drawing>
</file>

<file path=ppt/diagrams/drawing8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4F2652-3056-4EA1-8E34-D89C3FD6DE63}">
      <dsp:nvSpPr>
        <dsp:cNvPr id="0" name=""/>
        <dsp:cNvSpPr/>
      </dsp:nvSpPr>
      <dsp:spPr>
        <a:xfrm>
          <a:off x="0" y="4778"/>
          <a:ext cx="2106234" cy="359774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500" kern="1200" smtClean="0"/>
            <a:t>Punti di Forza</a:t>
          </a:r>
          <a:endParaRPr lang="it-IT" sz="1500" kern="1200"/>
        </a:p>
      </dsp:txBody>
      <dsp:txXfrm>
        <a:off x="17563" y="22341"/>
        <a:ext cx="2071108" cy="324648"/>
      </dsp:txXfrm>
    </dsp:sp>
  </dsp:spTree>
</dsp:drawing>
</file>

<file path=ppt/diagrams/drawing8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66079"/>
          <a:ext cx="252028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399"/>
          <a:ext cx="1764196" cy="5313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1953" y="26338"/>
        <a:ext cx="1712318" cy="47948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1CCAE3-4E5B-4AD4-98CF-C84CFD4B2B61}">
      <dsp:nvSpPr>
        <dsp:cNvPr id="0" name=""/>
        <dsp:cNvSpPr/>
      </dsp:nvSpPr>
      <dsp:spPr>
        <a:xfrm>
          <a:off x="1380422" y="249817"/>
          <a:ext cx="3413760" cy="3413760"/>
        </a:xfrm>
        <a:prstGeom prst="pie">
          <a:avLst>
            <a:gd name="adj1" fmla="val 162000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Avvio</a:t>
          </a:r>
          <a:endParaRPr lang="it-IT" sz="1300" kern="1200" dirty="0"/>
        </a:p>
      </dsp:txBody>
      <dsp:txXfrm>
        <a:off x="3192560" y="957360"/>
        <a:ext cx="1259840" cy="934720"/>
      </dsp:txXfrm>
    </dsp:sp>
    <dsp:sp modelId="{F0F6EC78-48FE-4338-9470-51C5945E4C5A}">
      <dsp:nvSpPr>
        <dsp:cNvPr id="0" name=""/>
        <dsp:cNvSpPr/>
      </dsp:nvSpPr>
      <dsp:spPr>
        <a:xfrm>
          <a:off x="1380422" y="364422"/>
          <a:ext cx="3413760" cy="3413760"/>
        </a:xfrm>
        <a:prstGeom prst="pie">
          <a:avLst>
            <a:gd name="adj1" fmla="val 0"/>
            <a:gd name="adj2" fmla="val 54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Elaborazione ed invio contributi</a:t>
          </a:r>
          <a:endParaRPr lang="it-IT" sz="1300" kern="1200" dirty="0"/>
        </a:p>
      </dsp:txBody>
      <dsp:txXfrm>
        <a:off x="3192560" y="2135920"/>
        <a:ext cx="1259840" cy="934720"/>
      </dsp:txXfrm>
    </dsp:sp>
    <dsp:sp modelId="{6474684D-7762-4CD1-A3B4-D72EED99A80F}">
      <dsp:nvSpPr>
        <dsp:cNvPr id="0" name=""/>
        <dsp:cNvSpPr/>
      </dsp:nvSpPr>
      <dsp:spPr>
        <a:xfrm>
          <a:off x="1265817" y="364422"/>
          <a:ext cx="3413760" cy="3413760"/>
        </a:xfrm>
        <a:prstGeom prst="pie">
          <a:avLst>
            <a:gd name="adj1" fmla="val 5400000"/>
            <a:gd name="adj2" fmla="val 108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Raccolta e sistematizzazione contributi</a:t>
          </a:r>
          <a:endParaRPr lang="it-IT" sz="1300" kern="1200" dirty="0"/>
        </a:p>
      </dsp:txBody>
      <dsp:txXfrm>
        <a:off x="1607600" y="2135920"/>
        <a:ext cx="1259840" cy="934720"/>
      </dsp:txXfrm>
    </dsp:sp>
    <dsp:sp modelId="{2CD97BB5-9B57-47E0-A5C0-4486B247297F}">
      <dsp:nvSpPr>
        <dsp:cNvPr id="0" name=""/>
        <dsp:cNvSpPr/>
      </dsp:nvSpPr>
      <dsp:spPr>
        <a:xfrm>
          <a:off x="1265817" y="249817"/>
          <a:ext cx="3413760" cy="3413760"/>
        </a:xfrm>
        <a:prstGeom prst="pie">
          <a:avLst>
            <a:gd name="adj1" fmla="val 108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kern="1200" dirty="0" smtClean="0"/>
            <a:t>Restituzione e condivisione</a:t>
          </a:r>
          <a:endParaRPr lang="it-IT" sz="1300" kern="1200" dirty="0"/>
        </a:p>
      </dsp:txBody>
      <dsp:txXfrm>
        <a:off x="1607600" y="957360"/>
        <a:ext cx="1259840" cy="934720"/>
      </dsp:txXfrm>
    </dsp:sp>
    <dsp:sp modelId="{5CC2729F-211C-496E-9C98-DF70F4BFF7C1}">
      <dsp:nvSpPr>
        <dsp:cNvPr id="0" name=""/>
        <dsp:cNvSpPr/>
      </dsp:nvSpPr>
      <dsp:spPr>
        <a:xfrm>
          <a:off x="1169094" y="38489"/>
          <a:ext cx="3836416" cy="3836416"/>
        </a:xfrm>
        <a:prstGeom prst="circularArrow">
          <a:avLst>
            <a:gd name="adj1" fmla="val 5085"/>
            <a:gd name="adj2" fmla="val 327528"/>
            <a:gd name="adj3" fmla="val 21272472"/>
            <a:gd name="adj4" fmla="val 162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E92B4D0-B766-4BEF-AE06-9F28B81EEEE6}">
      <dsp:nvSpPr>
        <dsp:cNvPr id="0" name=""/>
        <dsp:cNvSpPr/>
      </dsp:nvSpPr>
      <dsp:spPr>
        <a:xfrm>
          <a:off x="1169094" y="153094"/>
          <a:ext cx="3836416" cy="3836416"/>
        </a:xfrm>
        <a:prstGeom prst="circularArrow">
          <a:avLst>
            <a:gd name="adj1" fmla="val 5085"/>
            <a:gd name="adj2" fmla="val 327528"/>
            <a:gd name="adj3" fmla="val 5072472"/>
            <a:gd name="adj4" fmla="val 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8C345A-097E-4D75-B389-7699A21EF75E}">
      <dsp:nvSpPr>
        <dsp:cNvPr id="0" name=""/>
        <dsp:cNvSpPr/>
      </dsp:nvSpPr>
      <dsp:spPr>
        <a:xfrm>
          <a:off x="1049770" y="198018"/>
          <a:ext cx="3836416" cy="3836416"/>
        </a:xfrm>
        <a:prstGeom prst="circularArrow">
          <a:avLst>
            <a:gd name="adj1" fmla="val 5085"/>
            <a:gd name="adj2" fmla="val 327528"/>
            <a:gd name="adj3" fmla="val 10472472"/>
            <a:gd name="adj4" fmla="val 54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14AC69-442E-4B0A-9DD7-23F3962569FF}">
      <dsp:nvSpPr>
        <dsp:cNvPr id="0" name=""/>
        <dsp:cNvSpPr/>
      </dsp:nvSpPr>
      <dsp:spPr>
        <a:xfrm>
          <a:off x="1054489" y="38489"/>
          <a:ext cx="3836416" cy="3836416"/>
        </a:xfrm>
        <a:prstGeom prst="circularArrow">
          <a:avLst>
            <a:gd name="adj1" fmla="val 5085"/>
            <a:gd name="adj2" fmla="val 327528"/>
            <a:gd name="adj3" fmla="val 15872472"/>
            <a:gd name="adj4" fmla="val 108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Competenze scientifiche e tecnologiche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9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305EC0-DD22-4DEF-B461-A699C37567B1}">
      <dsp:nvSpPr>
        <dsp:cNvPr id="0" name=""/>
        <dsp:cNvSpPr/>
      </dsp:nvSpPr>
      <dsp:spPr>
        <a:xfrm rot="16200000">
          <a:off x="473067" y="-469247"/>
          <a:ext cx="2736304" cy="3674798"/>
        </a:xfrm>
        <a:prstGeom prst="flowChartManualOperati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6200" bIns="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In Sicilia sono attivi in un ambito almeno in parte afferente agli sviluppi tecnologici che interessano il tema, il Distretto </a:t>
          </a:r>
          <a:r>
            <a:rPr lang="it-IT" sz="1200" b="1" kern="1200" dirty="0" err="1" smtClean="0"/>
            <a:t>Agrobiopesca</a:t>
          </a:r>
          <a:r>
            <a:rPr lang="it-IT" sz="1200" b="1" kern="1200" dirty="0" smtClean="0"/>
            <a:t> e il Distretto ambiente marino</a:t>
          </a:r>
          <a:endParaRPr lang="it-IT" sz="1200" b="1" kern="1200" dirty="0"/>
        </a:p>
      </dsp:txBody>
      <dsp:txXfrm rot="5400000">
        <a:off x="3820" y="547261"/>
        <a:ext cx="3674798" cy="1641782"/>
      </dsp:txXfrm>
    </dsp:sp>
    <dsp:sp modelId="{0986A703-EDCB-420F-A496-20F1F0753B2C}">
      <dsp:nvSpPr>
        <dsp:cNvPr id="0" name=""/>
        <dsp:cNvSpPr/>
      </dsp:nvSpPr>
      <dsp:spPr>
        <a:xfrm rot="16200000">
          <a:off x="4423476" y="-469247"/>
          <a:ext cx="2736304" cy="3674798"/>
        </a:xfrm>
        <a:prstGeom prst="flowChartManualOperation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6200" bIns="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Una capacità distintiva sul tema è inoltre garantita dalla presenza di un Istituto del  CNR, con sede in provincia di Trapani</a:t>
          </a:r>
          <a:r>
            <a:rPr lang="it-IT" sz="1200" kern="1200" dirty="0" smtClean="0"/>
            <a:t>.</a:t>
          </a:r>
          <a:endParaRPr lang="it-IT" sz="1200" b="1" kern="1200" dirty="0"/>
        </a:p>
      </dsp:txBody>
      <dsp:txXfrm rot="5400000">
        <a:off x="3954229" y="547261"/>
        <a:ext cx="3674798" cy="1641782"/>
      </dsp:txXfrm>
    </dsp:sp>
  </dsp:spTree>
</dsp:drawing>
</file>

<file path=ppt/diagrams/drawing9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266079"/>
          <a:ext cx="2520280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126014" y="399"/>
          <a:ext cx="1764196" cy="53136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682" tIns="0" rIns="66682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2. Sistema delle conoscenze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51953" y="26338"/>
        <a:ext cx="1712318" cy="479482"/>
      </dsp:txXfrm>
    </dsp:sp>
  </dsp:spTree>
</dsp:drawing>
</file>

<file path=ppt/diagrams/drawing9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lvl="0" algn="ctr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300" b="1" kern="1200" dirty="0" smtClean="0"/>
            <a:t>Competenze produttive</a:t>
          </a:r>
          <a:endParaRPr lang="it-IT" sz="1300" b="1" kern="1200" dirty="0"/>
        </a:p>
      </dsp:txBody>
      <dsp:txXfrm>
        <a:off x="605078" y="160888"/>
        <a:ext cx="1825125" cy="542320"/>
      </dsp:txXfrm>
    </dsp:sp>
  </dsp:spTree>
</dsp:drawing>
</file>

<file path=ppt/diagrams/drawing9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504AB0-B184-4D16-96DC-DA6EB7C103B6}">
      <dsp:nvSpPr>
        <dsp:cNvPr id="0" name=""/>
        <dsp:cNvSpPr/>
      </dsp:nvSpPr>
      <dsp:spPr>
        <a:xfrm>
          <a:off x="-2468393" y="-383354"/>
          <a:ext cx="2964116" cy="2964116"/>
        </a:xfrm>
        <a:prstGeom prst="blockArc">
          <a:avLst>
            <a:gd name="adj1" fmla="val 18900000"/>
            <a:gd name="adj2" fmla="val 2700000"/>
            <a:gd name="adj3" fmla="val 729"/>
          </a:avLst>
        </a:prstGeom>
        <a:noFill/>
        <a:ln w="25400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B4AB4D-2F2C-4B10-A6FA-9EF9522610F0}">
      <dsp:nvSpPr>
        <dsp:cNvPr id="0" name=""/>
        <dsp:cNvSpPr/>
      </dsp:nvSpPr>
      <dsp:spPr>
        <a:xfrm>
          <a:off x="403938" y="313921"/>
          <a:ext cx="2752822" cy="62775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8281" tIns="35560" rIns="35560" bIns="3556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Distretto micro e nano</a:t>
          </a:r>
          <a:endParaRPr lang="it-IT" sz="1400" b="0" kern="1200" dirty="0"/>
        </a:p>
      </dsp:txBody>
      <dsp:txXfrm>
        <a:off x="403938" y="313921"/>
        <a:ext cx="2752822" cy="627755"/>
      </dsp:txXfrm>
    </dsp:sp>
    <dsp:sp modelId="{5894AF4C-E117-4DB5-962B-41A76EA0DA9E}">
      <dsp:nvSpPr>
        <dsp:cNvPr id="0" name=""/>
        <dsp:cNvSpPr/>
      </dsp:nvSpPr>
      <dsp:spPr>
        <a:xfrm>
          <a:off x="11591" y="235452"/>
          <a:ext cx="784694" cy="7846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D4864F-F2BC-48D6-B547-6D5CD84E322F}">
      <dsp:nvSpPr>
        <dsp:cNvPr id="0" name=""/>
        <dsp:cNvSpPr/>
      </dsp:nvSpPr>
      <dsp:spPr>
        <a:xfrm>
          <a:off x="403938" y="1255730"/>
          <a:ext cx="2752822" cy="627755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8281" tIns="35560" rIns="35560" bIns="35560" numCol="1" spcCol="1270" anchor="ctr" anchorCtr="0">
          <a:noAutofit/>
        </a:bodyPr>
        <a:lstStyle/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smtClean="0"/>
            <a:t>Distretto </a:t>
          </a:r>
          <a:endParaRPr lang="it-IT" sz="1400" kern="1200" dirty="0" smtClean="0"/>
        </a:p>
        <a:p>
          <a:pPr lvl="0" algn="just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/>
            <a:t>Cantieristica navale</a:t>
          </a:r>
          <a:endParaRPr lang="it-IT" sz="1400" b="0" kern="1200" dirty="0"/>
        </a:p>
      </dsp:txBody>
      <dsp:txXfrm>
        <a:off x="403938" y="1255730"/>
        <a:ext cx="2752822" cy="627755"/>
      </dsp:txXfrm>
    </dsp:sp>
    <dsp:sp modelId="{C67AFDD8-AE63-4F83-AEC8-2AE6FEFB0DA3}">
      <dsp:nvSpPr>
        <dsp:cNvPr id="0" name=""/>
        <dsp:cNvSpPr/>
      </dsp:nvSpPr>
      <dsp:spPr>
        <a:xfrm>
          <a:off x="11591" y="1177261"/>
          <a:ext cx="784694" cy="78469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Indicazioni di priorità per RIS3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drawing9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FB8147-1263-4D0A-90A2-E796A1C5B87C}">
      <dsp:nvSpPr>
        <dsp:cNvPr id="0" name=""/>
        <dsp:cNvSpPr/>
      </dsp:nvSpPr>
      <dsp:spPr>
        <a:xfrm>
          <a:off x="0" y="0"/>
          <a:ext cx="8136904" cy="0"/>
        </a:xfrm>
        <a:prstGeom prst="lin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80B2EED-386A-4A11-AE3B-B74F4E81019D}">
      <dsp:nvSpPr>
        <dsp:cNvPr id="0" name=""/>
        <dsp:cNvSpPr/>
      </dsp:nvSpPr>
      <dsp:spPr>
        <a:xfrm>
          <a:off x="0" y="0"/>
          <a:ext cx="8136904" cy="10081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just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Il Tavolo intende promuovere un confronto e un approfondimento in relazione a quattro principali ambiti applicativi dell’Economia del Mare</a:t>
          </a:r>
          <a:endParaRPr lang="it-IT" sz="2000" b="1" kern="1200" dirty="0">
            <a:solidFill>
              <a:schemeClr val="bg2">
                <a:lumMod val="25000"/>
              </a:schemeClr>
            </a:solidFill>
          </a:endParaRPr>
        </a:p>
      </dsp:txBody>
      <dsp:txXfrm>
        <a:off x="0" y="0"/>
        <a:ext cx="8136904" cy="1008112"/>
      </dsp:txXfrm>
    </dsp:sp>
  </dsp:spTree>
</dsp:drawing>
</file>

<file path=ppt/diagrams/drawing9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4AD343-D282-460C-AE7C-23C5C97E29FD}">
      <dsp:nvSpPr>
        <dsp:cNvPr id="0" name=""/>
        <dsp:cNvSpPr/>
      </dsp:nvSpPr>
      <dsp:spPr>
        <a:xfrm>
          <a:off x="0" y="180432"/>
          <a:ext cx="1872208" cy="45521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D380AD-5D38-4835-9FB5-615E5454C686}">
      <dsp:nvSpPr>
        <dsp:cNvPr id="0" name=""/>
        <dsp:cNvSpPr/>
      </dsp:nvSpPr>
      <dsp:spPr>
        <a:xfrm>
          <a:off x="93518" y="12422"/>
          <a:ext cx="1309265" cy="463210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6" tIns="0" rIns="49536" bIns="0" numCol="1" spcCol="1270" anchor="ctr" anchorCtr="0">
          <a:noAutofit/>
        </a:bodyPr>
        <a:lstStyle/>
        <a:p>
          <a:pPr lvl="0" algn="l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b="1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rPr>
            <a:t>3. Indicazioni di Priorità</a:t>
          </a:r>
          <a:endParaRPr lang="it-IT" sz="14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endParaRPr>
        </a:p>
      </dsp:txBody>
      <dsp:txXfrm>
        <a:off x="116130" y="35034"/>
        <a:ext cx="1264041" cy="417986"/>
      </dsp:txXfrm>
    </dsp:sp>
  </dsp:spTree>
</dsp:drawing>
</file>

<file path=ppt/diagrams/drawing9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BE1CB6-F376-4AFD-B855-2417AB469536}">
      <dsp:nvSpPr>
        <dsp:cNvPr id="0" name=""/>
        <dsp:cNvSpPr/>
      </dsp:nvSpPr>
      <dsp:spPr>
        <a:xfrm>
          <a:off x="738" y="252485"/>
          <a:ext cx="2879616" cy="172777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un </a:t>
          </a:r>
          <a:r>
            <a:rPr lang="it-IT" sz="1400" b="1" kern="1200" dirty="0" smtClean="0"/>
            <a:t>primo ambito </a:t>
          </a:r>
          <a:r>
            <a:rPr lang="it-IT" sz="1400" kern="1200" dirty="0" smtClean="0"/>
            <a:t>riguarda le componenti, i sistemi e i mezzi per il monitoraggio  degli ambienti marini, , la protezione delle coste, i servizi di intervento ambientale, la sorveglianza costiera e la sicurezza in mare</a:t>
          </a:r>
          <a:endParaRPr lang="it-IT" sz="1400" kern="1200" dirty="0"/>
        </a:p>
      </dsp:txBody>
      <dsp:txXfrm>
        <a:off x="738" y="252485"/>
        <a:ext cx="2879616" cy="1727770"/>
      </dsp:txXfrm>
    </dsp:sp>
    <dsp:sp modelId="{C5944C47-5ED5-46AB-B2DE-DEFA4A2EEBC4}">
      <dsp:nvSpPr>
        <dsp:cNvPr id="0" name=""/>
        <dsp:cNvSpPr/>
      </dsp:nvSpPr>
      <dsp:spPr>
        <a:xfrm>
          <a:off x="3168316" y="252485"/>
          <a:ext cx="2879616" cy="172777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 un </a:t>
          </a:r>
          <a:r>
            <a:rPr lang="it-IT" sz="1400" b="1" kern="1200" dirty="0" smtClean="0"/>
            <a:t>secondo ambito </a:t>
          </a:r>
          <a:r>
            <a:rPr lang="it-IT" sz="1400" kern="1200" dirty="0" smtClean="0"/>
            <a:t>riguarda le componenti, i sistemi e i mezzi off-shore per lo sfruttamento delle risorse energetiche e geologiche in maniera sostenibile</a:t>
          </a:r>
          <a:endParaRPr lang="it-IT" sz="1400" kern="1200" dirty="0"/>
        </a:p>
      </dsp:txBody>
      <dsp:txXfrm>
        <a:off x="3168316" y="252485"/>
        <a:ext cx="2879616" cy="1727770"/>
      </dsp:txXfrm>
    </dsp:sp>
    <dsp:sp modelId="{FC3705C6-21F2-4B22-9BC2-F7B3CB9F3441}">
      <dsp:nvSpPr>
        <dsp:cNvPr id="0" name=""/>
        <dsp:cNvSpPr/>
      </dsp:nvSpPr>
      <dsp:spPr>
        <a:xfrm>
          <a:off x="738" y="2268216"/>
          <a:ext cx="2879616" cy="172777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dirty="0" smtClean="0"/>
            <a:t> un </a:t>
          </a:r>
          <a:r>
            <a:rPr lang="it-IT" sz="1400" b="1" kern="1200" dirty="0" smtClean="0"/>
            <a:t>terzo ambito </a:t>
          </a:r>
          <a:r>
            <a:rPr lang="it-IT" sz="1400" kern="1200" dirty="0" smtClean="0"/>
            <a:t>riguarda lo sviluppo tecnologico dei mezzi di trasporto per ambienti acquatici; </a:t>
          </a:r>
          <a:endParaRPr lang="it-IT" sz="1400" kern="1200" dirty="0"/>
        </a:p>
      </dsp:txBody>
      <dsp:txXfrm>
        <a:off x="738" y="2268216"/>
        <a:ext cx="2879616" cy="1727770"/>
      </dsp:txXfrm>
    </dsp:sp>
    <dsp:sp modelId="{3BCF7C92-38B9-424C-9EA1-7AE6F16B07A6}">
      <dsp:nvSpPr>
        <dsp:cNvPr id="0" name=""/>
        <dsp:cNvSpPr/>
      </dsp:nvSpPr>
      <dsp:spPr>
        <a:xfrm>
          <a:off x="3168316" y="2268216"/>
          <a:ext cx="2879616" cy="1727770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400" kern="1200" smtClean="0"/>
            <a:t>un </a:t>
          </a:r>
          <a:r>
            <a:rPr lang="it-IT" sz="1400" b="1" kern="1200" dirty="0" smtClean="0"/>
            <a:t>quarto ambito </a:t>
          </a:r>
          <a:r>
            <a:rPr lang="it-IT" sz="1400" kern="1200" dirty="0" smtClean="0"/>
            <a:t>studio degli organismi viventi in ambiente marino finalizzato all’individuazione di nuove molecole con applicazioni industriali, in </a:t>
          </a:r>
          <a:r>
            <a:rPr lang="it-IT" sz="1400" kern="1200" dirty="0" err="1" smtClean="0"/>
            <a:t>special</a:t>
          </a:r>
          <a:r>
            <a:rPr lang="it-IT" sz="1400" kern="1200" dirty="0" smtClean="0"/>
            <a:t> modo negli ambiti scienze della vita, agroindustria e nuovi materiali.</a:t>
          </a:r>
          <a:endParaRPr lang="it-IT" sz="1400" kern="1200" dirty="0"/>
        </a:p>
      </dsp:txBody>
      <dsp:txXfrm>
        <a:off x="3168316" y="2268216"/>
        <a:ext cx="2879616" cy="1727770"/>
      </dsp:txXfrm>
    </dsp:sp>
  </dsp:spTree>
</dsp:drawing>
</file>

<file path=ppt/diagrams/drawing9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AD98A5-0898-43D1-8FB1-9AA58104A73C}">
      <dsp:nvSpPr>
        <dsp:cNvPr id="0" name=""/>
        <dsp:cNvSpPr/>
      </dsp:nvSpPr>
      <dsp:spPr>
        <a:xfrm>
          <a:off x="1195" y="0"/>
          <a:ext cx="2201292" cy="576064"/>
        </a:xfrm>
        <a:prstGeom prst="chevron">
          <a:avLst>
            <a:gd name="adj" fmla="val 4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E9EFE3-4E69-404A-8A99-59388A9E3922}">
      <dsp:nvSpPr>
        <dsp:cNvPr id="0" name=""/>
        <dsp:cNvSpPr/>
      </dsp:nvSpPr>
      <dsp:spPr>
        <a:xfrm>
          <a:off x="588206" y="144016"/>
          <a:ext cx="1858869" cy="576064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200" b="1" kern="1200" dirty="0" smtClean="0"/>
            <a:t>Indicazioni di priorità per RIS3</a:t>
          </a:r>
          <a:endParaRPr lang="it-IT" sz="1200" b="1" kern="1200" dirty="0"/>
        </a:p>
      </dsp:txBody>
      <dsp:txXfrm>
        <a:off x="605078" y="160888"/>
        <a:ext cx="1825125" cy="5423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default#1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0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10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0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0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pList2#1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pList2#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2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5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6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7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8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9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0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1.xml><?xml version="1.0" encoding="utf-8"?>
<dgm:layoutDef xmlns:dgm="http://schemas.openxmlformats.org/drawingml/2006/diagram" xmlns:a="http://schemas.openxmlformats.org/drawingml/2006/main" uniqueId="urn:microsoft.com/office/officeart/2008/layout/SquareAccentList">
  <dgm:title val=""/>
  <dgm:desc val=""/>
  <dgm:catLst>
    <dgm:cat type="list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23">
          <dgm:prSet phldr="1"/>
        </dgm:pt>
      </dgm:ptLst>
      <dgm:cxnLst>
        <dgm:cxn modelId="1" srcId="0" destId="10" srcOrd="0" destOrd="0"/>
        <dgm:cxn modelId="2" srcId="10" destId="11" srcOrd="0" destOrd="0"/>
        <dgm:cxn modelId="3" srcId="10" destId="12" srcOrd="1" destOrd="0"/>
        <dgm:cxn modelId="4" srcId="10" destId="13" srcOrd="2" destOrd="0"/>
        <dgm:cxn modelId="5" srcId="0" destId="20" srcOrd="0" destOrd="0"/>
        <dgm:cxn modelId="6" srcId="20" destId="21" srcOrd="0" destOrd="0"/>
        <dgm:cxn modelId="7" srcId="20" destId="22" srcOrd="1" destOrd="0"/>
        <dgm:cxn modelId="8" srcId="20" destId="23" srcOrd="2" destOrd="0"/>
      </dgm:cxnLst>
      <dgm:bg/>
      <dgm:whole/>
    </dgm:dataModel>
  </dgm:clrData>
  <dgm:layoutNode name="layout">
    <dgm:varLst>
      <dgm:chMax/>
      <dgm:chPref/>
      <dgm:dir/>
      <dgm:resizeHandles/>
    </dgm:varLst>
    <dgm:choose name="Name0">
      <dgm:if name="Name1" func="var" arg="dir" op="equ" val="norm">
        <dgm:alg type="hierChild">
          <dgm:param type="linDir" val="fromL"/>
          <dgm:param type="vertAlign" val="t"/>
          <dgm:param type="nodeVertAlign" val="t"/>
          <dgm:param type="horzAlign" val="ctr"/>
          <dgm:param type="fallback" val="1D"/>
        </dgm:alg>
      </dgm:if>
      <dgm:else name="Name2">
        <dgm:alg type="hierChild">
          <dgm:param type="linDir" val="fromR"/>
          <dgm:param type="vertAlign" val="t"/>
          <dgm:param type="nodeVertAlign" val="t"/>
          <dgm:param type="horzAlign" val="ctr"/>
          <dgm:param type="fallback" val="1D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Parent" op="equ" val="65"/>
      <dgm:constr type="primFontSz" for="des" forName="Child" op="equ" val="65"/>
      <dgm:constr type="primFontSz" for="des" forName="Child" refType="primFontSz" refFor="des" refForName="Parent" op="lte"/>
      <dgm:constr type="w" for="des" forName="rootComposite" refType="h" refFor="des" refForName="rootComposite" fact="3.0396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 fact="0.5205"/>
      <dgm:constr type="sibSp" refType="w" refFor="des" refForName="rootComposite" fact="0.05"/>
      <dgm:constr type="sp" for="des" forName="root" refType="h" refFor="des" refForName="childComposite" fact="0.2855"/>
    </dgm:constrLst>
    <dgm:ruleLst/>
    <dgm:forEach name="Name3" axis="ch">
      <dgm:forEach name="Name4" axis="self" ptType="node" cnt="1">
        <dgm:layoutNode name="root">
          <dgm:varLst>
            <dgm:chMax/>
            <dgm:chPref/>
          </dgm:varLst>
          <dgm:alg type="hierRoot">
            <dgm:param type="hierAlign" val="tL"/>
          </dgm:alg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5">
              <dgm:if name="Name6" func="var" arg="dir" op="equ" val="norm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l" for="ch" forName="ParentSmallAccent" refType="w" fact="0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if>
              <dgm:else name="Name7">
                <dgm:constrLst>
                  <dgm:constr type="l" for="ch" forName="Parent" refType="w" fact="0"/>
                  <dgm:constr type="t" for="ch" forName="Parent" refType="h" fact="0"/>
                  <dgm:constr type="w" for="ch" forName="Parent" refType="w"/>
                  <dgm:constr type="h" for="ch" forName="Parent" refType="h" fact="0.6424"/>
                  <dgm:constr type="l" for="ch" forName="ParentAccent" refType="w" fact="0"/>
                  <dgm:constr type="b" for="ch" forName="ParentAccent" refType="h"/>
                  <dgm:constr type="w" for="ch" forName="ParentAccent" refType="w"/>
                  <dgm:constr type="h" for="ch" forName="ParentAccent" refType="h" fact="0.3576"/>
                  <dgm:constr type="r" for="ch" forName="ParentSmallAccent" refType="w"/>
                  <dgm:constr type="b" for="ch" forName="ParentSmallAccent" refType="h"/>
                  <dgm:constr type="w" for="ch" forName="ParentSmallAccent" refType="h" fact="0.2233"/>
                  <dgm:constr type="h" for="ch" forName="ParentSmallAccent" refType="h" fact="0.2233"/>
                </dgm:constrLst>
              </dgm:else>
            </dgm:choose>
            <dgm:ruleLst/>
            <dgm:layoutNode name="ParentAccent" styleLbl="alignNode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SmallAccent" styleLbl="fgAcc1">
              <dgm:alg type="sp"/>
              <dgm:shape xmlns:r="http://schemas.openxmlformats.org/officeDocument/2006/relationships" type="rect" r:blip="">
                <dgm:adjLst/>
              </dgm:shape>
              <dgm:presOf/>
            </dgm:layoutNode>
            <dgm:layoutNode name="Parent" styleLbl="revTx">
              <dgm:varLst>
                <dgm:chMax/>
                <dgm:chPref val="4"/>
                <dgm:bulletEnabled val="1"/>
              </dgm:varLst>
              <dgm:choose name="Name8">
                <dgm:if name="Name9" func="var" arg="dir" op="equ" val="norm">
                  <dgm:alg type="tx">
                    <dgm:param type="txAnchorVertCh" val="mid"/>
                    <dgm:param type="parTxLTRAlign" val="l"/>
                  </dgm:alg>
                </dgm:if>
                <dgm:else name="Name10">
                  <dgm:alg type="tx">
                    <dgm:param type="txAnchorVertCh" val="mid"/>
                    <dgm:param type="parTxLTR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13">
                    <dgm:if name="Name14" func="var" arg="dir" op="equ" val="norm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l" for="ch" forName="ChildAccent" refType="w" fact="0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l" for="ch" forName="Child" refType="w" fact="0.07"/>
                        <dgm:constr type="t" for="ch" forName="Child" refType="h" fact="0"/>
                      </dgm:constrLst>
                    </dgm:if>
                    <dgm:else name="Name15">
                      <dgm:constrLst>
                        <dgm:constr type="w" for="ch" forName="ChildAccent" refType="h" fact="0.429"/>
                        <dgm:constr type="h" for="ch" forName="ChildAccent" refType="h" fact="0.429"/>
                        <dgm:constr type="r" for="ch" forName="ChildAccent" refType="w"/>
                        <dgm:constr type="t" for="ch" forName="ChildAccent" refType="h" fact="0.2855"/>
                        <dgm:constr type="w" for="ch" forName="Child" refType="w" fact="0.93"/>
                        <dgm:constr type="h" for="ch" forName="Child" refType="h"/>
                        <dgm:constr type="r" for="ch" forName="Child" refType="w" fact="0.93"/>
                        <dgm:constr type="t" for="ch" forName="Child" refType="h" fact="0"/>
                      </dgm:constrLst>
                    </dgm:else>
                  </dgm:choose>
                  <dgm:ruleLst/>
                  <dgm:layoutNode name="ChildAccent" styleLbl="solidFgAcc1">
                    <dgm:alg type="sp"/>
                    <dgm:shape xmlns:r="http://schemas.openxmlformats.org/officeDocument/2006/relationships" type="rect" r:blip="">
                      <dgm:adjLst/>
                    </dgm:shape>
                    <dgm:presOf/>
                  </dgm:layoutNode>
                  <dgm:layoutNode name="Child" styleLbl="revTx">
                    <dgm:varLst>
                      <dgm:chMax val="0"/>
                      <dgm:chPref val="0"/>
                      <dgm:bulletEnabled val="1"/>
                    </dgm:varLst>
                    <dgm:choose name="Name16">
                      <dgm:if name="Name17" func="var" arg="dir" op="equ" val="norm">
                        <dgm:alg type="tx">
                          <dgm:param type="txAnchorVertCh" val="mid"/>
                          <dgm:param type="parTxLTRAlign" val="l"/>
                        </dgm:alg>
                      </dgm:if>
                      <dgm:else name="Name18">
                        <dgm:alg type="tx">
                          <dgm:param type="txAnchorVertCh" val="mid"/>
                          <dgm:param type="parTxLTRAlign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 node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2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3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3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8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9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50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1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2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6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7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8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1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4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5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6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7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0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4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6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7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9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80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5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6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8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8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90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3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95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6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97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8.xml><?xml version="1.0" encoding="utf-8"?>
<dgm:layoutDef xmlns:dgm="http://schemas.openxmlformats.org/drawingml/2006/diagram" xmlns:a="http://schemas.openxmlformats.org/drawingml/2006/main" uniqueId="urn:microsoft.com/office/officeart/2005/8/layout/default#2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9.xml><?xml version="1.0" encoding="utf-8"?>
<dgm:layoutDef xmlns:dgm="http://schemas.openxmlformats.org/drawingml/2006/diagram" xmlns:a="http://schemas.openxmlformats.org/drawingml/2006/main" uniqueId="urn:microsoft.com/office/officeart/2005/8/layout/chevronAccent+Icon">
  <dgm:title val="Processo con frecce colorate"/>
  <dgm:desc val="Mostra i passaggi sequenziali di un'attività, un processo o un flusso di lavoro oppure evidenzia un movimento o una direzione. Risultati ottimali con poco testo di livello 1 e livello 2."/>
  <dgm:catLst>
    <dgm:cat type="process" pri="9500"/>
    <dgm:cat type="officeonline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primFontSz" for="des" forName="txNode" op="equ" val="65"/>
      <dgm:constr type="w" for="ch" forName="compositeSpace" refType="w" refFor="ch" refForName="composite" fact="0.028"/>
    </dgm:constrLst>
    <dgm:ruleLst/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l" for="ch" forName="bgChev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 refType="w" fact="0.24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if>
          <dgm:else name="Name7">
            <dgm:constrLst>
              <dgm:constr type="l" for="ch" forName="bgChev" refType="w" fact="0.1"/>
              <dgm:constr type="w" for="ch" forName="bgChev" refType="w" fact="0.9"/>
              <dgm:constr type="t" for="ch" forName="bgChev"/>
              <dgm:constr type="h" for="ch" forName="bgChev" refType="w" refFor="ch" refForName="bgChev" fact="0.386"/>
              <dgm:constr type="l" for="ch" forName="txNode"/>
              <dgm:constr type="w" for="ch" forName="txNode" refType="w" fact="0.76"/>
              <dgm:constr type="t" for="ch" forName="txNode" refType="h" refFor="ch" refForName="bgChev" fact="0.25"/>
              <dgm:constr type="h" for="ch" forName="txNode" refType="h" refFor="ch" refForName="bgChev"/>
            </dgm:constrLst>
          </dgm:else>
        </dgm:choose>
        <dgm:ruleLst/>
        <dgm:layoutNode name="bgChev" styleLbl="node1">
          <dgm:alg type="sp"/>
          <dgm:choose name="Name8">
            <dgm:if name="Name9" func="var" arg="dir" op="equ" val="norm">
              <dgm:shape xmlns:r="http://schemas.openxmlformats.org/officeDocument/2006/relationships" type="chevron" r:blip="">
                <dgm:adjLst>
                  <dgm:adj idx="1" val="0.4"/>
                </dgm:adjLst>
              </dgm:shape>
            </dgm:if>
            <dgm:else name="Name10">
              <dgm:shape xmlns:r="http://schemas.openxmlformats.org/officeDocument/2006/relationships" rot="180" type="chevron" r:blip="">
                <dgm:adjLst>
                  <dgm:adj idx="1" val="0.4"/>
                </dgm:adjLst>
              </dgm:shape>
            </dgm:else>
          </dgm:choose>
          <dgm:presOf/>
          <dgm:constrLst/>
        </dgm:layoutNode>
        <dgm:layoutNode name="txNode" styleLbl="fgAcc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ruleLst>
            <dgm:rule type="primFontSz" val="5" fact="NaN" max="NaN"/>
          </dgm:ruleLst>
        </dgm:layoutNode>
      </dgm:layoutNode>
      <dgm:forEach name="Name11" axis="followSib" ptType="sibTrans" cnt="1">
        <dgm:layoutNode name="compositeSpace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#9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#10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52DCA0-E0C4-4C9A-85AF-7DB18A0D9F69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A21715-2796-4EE2-8D70-273DF756F44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606147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20482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  <p:sp>
        <p:nvSpPr>
          <p:cNvPr id="20483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2699"/>
            <a:fld id="{849D7E3E-65FA-44BD-9ED2-69951587F243}" type="slidenum">
              <a:rPr lang="en-GB" smtClean="0"/>
              <a:pPr defTabSz="902699"/>
              <a:t>1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3175073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Segnaposto immagine diapositiva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33794" name="Segnaposto note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  <p:sp>
        <p:nvSpPr>
          <p:cNvPr id="33795" name="Segnaposto numero diapositiva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77900"/>
            <a:fld id="{75B8384F-8735-4410-B801-D6CC57CD08A2}" type="slidenum">
              <a:rPr lang="en-GB" smtClean="0"/>
              <a:pPr defTabSz="977900"/>
              <a:t>11</a:t>
            </a:fld>
            <a:endParaRPr lang="en-GB" smtClean="0"/>
          </a:p>
        </p:txBody>
      </p:sp>
    </p:spTree>
    <p:extLst>
      <p:ext uri="{BB962C8B-B14F-4D97-AF65-F5344CB8AC3E}">
        <p14:creationId xmlns:p14="http://schemas.microsoft.com/office/powerpoint/2010/main" val="1989908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egnaposto immagine diapositiva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0600" y="777875"/>
            <a:ext cx="5116513" cy="3836988"/>
          </a:xfrm>
          <a:solidFill>
            <a:srgbClr val="5B9BD5"/>
          </a:solidFill>
          <a:ln w="12600">
            <a:solidFill>
              <a:srgbClr val="41719C"/>
            </a:solidFill>
          </a:ln>
        </p:spPr>
      </p:sp>
      <p:sp>
        <p:nvSpPr>
          <p:cNvPr id="40962" name="Segnaposto note 2"/>
          <p:cNvSpPr>
            <a:spLocks noGrp="1"/>
          </p:cNvSpPr>
          <p:nvPr>
            <p:ph type="body" sz="quarter" idx="1"/>
          </p:nvPr>
        </p:nvSpPr>
        <p:spPr>
          <a:noFill/>
          <a:ln/>
        </p:spPr>
        <p:txBody>
          <a:bodyPr/>
          <a:lstStyle/>
          <a:p>
            <a:r>
              <a:rPr lang="it-IT" b="1" smtClean="0"/>
              <a:t>1.Azione di feedback e di restituzione (Laboratorio) </a:t>
            </a:r>
            <a:r>
              <a:rPr lang="it-IT" smtClean="0"/>
              <a:t>agli attori coinvolti da parte della Regione degli avanzamenti conseguiti, </a:t>
            </a:r>
            <a:r>
              <a:rPr lang="it-IT" sz="1100" smtClean="0"/>
              <a:t>avvalendosi di una appropriata strategia comunicativa, per confermare la credibilità del processo e della sua conduzione</a:t>
            </a:r>
          </a:p>
          <a:p>
            <a:r>
              <a:rPr lang="it-IT" sz="1100" smtClean="0"/>
              <a:t>4.</a:t>
            </a:r>
            <a:r>
              <a:rPr lang="it-IT" sz="1100" b="1" smtClean="0"/>
              <a:t> Attività di Formalizzazione (con appositi strumenti) della condivisione </a:t>
            </a:r>
            <a:r>
              <a:rPr lang="it-IT" sz="1100" smtClean="0"/>
              <a:t>delle linee portanti della strategia e del piano  d’azione con gli attori rilevanti (a partire da EPR e università)</a:t>
            </a:r>
            <a:endParaRPr lang="it-IT" sz="1000" smtClean="0"/>
          </a:p>
          <a:p>
            <a:endParaRPr lang="it-IT" sz="1100" smtClean="0"/>
          </a:p>
          <a:p>
            <a:endParaRPr lang="it-IT" altLang="it-IT" smtClean="0"/>
          </a:p>
        </p:txBody>
      </p:sp>
    </p:spTree>
    <p:extLst>
      <p:ext uri="{BB962C8B-B14F-4D97-AF65-F5344CB8AC3E}">
        <p14:creationId xmlns:p14="http://schemas.microsoft.com/office/powerpoint/2010/main" val="874644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02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66983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8A6E7B-AB53-46B8-B429-B1DC7CA9835B}" type="slidenum">
              <a:rPr lang="it-IT" smtClean="0"/>
              <a:pPr/>
              <a:t>2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057709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/>
              <a:pPr>
                <a:defRPr/>
              </a:pPr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78377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AA6F22C-A626-425B-B3CE-FFB0711DC70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3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65739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96729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79337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2379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9" descr="Logo-FORMEZ-PA-09032010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3866" y="6496050"/>
            <a:ext cx="97155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2" descr="POAT-LOGO-GENERALE-8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46123" y="6357939"/>
            <a:ext cx="597877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uppo 3"/>
          <p:cNvGrpSpPr>
            <a:grpSpLocks/>
          </p:cNvGrpSpPr>
          <p:nvPr userDrawn="1"/>
        </p:nvGrpSpPr>
        <p:grpSpPr bwMode="auto">
          <a:xfrm>
            <a:off x="8792" y="-19050"/>
            <a:ext cx="9144000" cy="646113"/>
            <a:chOff x="-37009" y="-36513"/>
            <a:chExt cx="9143999" cy="894344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4688" t="21562" r="5663" b="66251"/>
            <a:stretch>
              <a:fillRect/>
            </a:stretch>
          </p:blipFill>
          <p:spPr bwMode="auto">
            <a:xfrm>
              <a:off x="-37009" y="0"/>
              <a:ext cx="9143999" cy="85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jaune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7" descr="stellon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" descr="Logo_POFesr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128602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4DAF7B-515D-4BF6-8720-51963FCFDAC6}" type="datetimeFigureOut">
              <a:rPr lang="it-IT">
                <a:solidFill>
                  <a:srgbClr val="000000"/>
                </a:solidFill>
              </a:rPr>
              <a:pPr>
                <a:defRPr/>
              </a:pPr>
              <a:t>10/05/2014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>
              <a:solidFill>
                <a:srgbClr val="000000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0359A34D-25AC-47B8-B735-38BE13EF388C}" type="slidenum">
              <a:rPr lang="it-IT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it-IT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089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02478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42882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8258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951333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2784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83329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76009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026736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6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765540-56EC-486B-9795-F1651624B1A5}" type="datetimeFigureOut">
              <a:rPr lang="it-IT" smtClean="0"/>
              <a:pPr/>
              <a:t>10/05/201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C12469-328B-4FDB-9290-CB2B1E9B57A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75427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metaeconomicdevelopment.com/News/PublishingImages/s3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714375"/>
            <a:ext cx="2714625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it-IT" smtClean="0"/>
              <a:t>Click to edit Master text styles</a:t>
            </a:r>
          </a:p>
          <a:p>
            <a:pPr lvl="1"/>
            <a:r>
              <a:rPr lang="en-GB" altLang="it-IT" smtClean="0"/>
              <a:t>Second level</a:t>
            </a:r>
          </a:p>
          <a:p>
            <a:pPr lvl="2"/>
            <a:r>
              <a:rPr lang="en-GB" altLang="it-IT" smtClean="0"/>
              <a:t>Third level</a:t>
            </a:r>
          </a:p>
          <a:p>
            <a:pPr lvl="3"/>
            <a:r>
              <a:rPr lang="en-GB" altLang="it-IT" smtClean="0"/>
              <a:t>Fourth level</a:t>
            </a:r>
          </a:p>
          <a:p>
            <a:pPr lvl="4"/>
            <a:r>
              <a:rPr lang="en-GB" altLang="it-IT" smtClean="0"/>
              <a:t>Fifth le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cs typeface="+mn-cs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" name="Gruppo 4"/>
          <p:cNvGrpSpPr>
            <a:grpSpLocks/>
          </p:cNvGrpSpPr>
          <p:nvPr userDrawn="1"/>
        </p:nvGrpSpPr>
        <p:grpSpPr bwMode="auto">
          <a:xfrm>
            <a:off x="0" y="-26988"/>
            <a:ext cx="9144000" cy="792163"/>
            <a:chOff x="0" y="-36513"/>
            <a:chExt cx="9144000" cy="822326"/>
          </a:xfrm>
        </p:grpSpPr>
        <p:pic>
          <p:nvPicPr>
            <p:cNvPr id="1033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4688" t="21562" r="5663" b="66251"/>
            <a:stretch>
              <a:fillRect/>
            </a:stretch>
          </p:blipFill>
          <p:spPr bwMode="auto">
            <a:xfrm>
              <a:off x="0" y="0"/>
              <a:ext cx="9144000" cy="7858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4" name="Picture 5" descr="jaune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5" name="Picture 7" descr="stellone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36" name="Picture 2" descr="Logo_POFesr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3" name="Connettore 1 12"/>
          <p:cNvCxnSpPr/>
          <p:nvPr userDrawn="1"/>
        </p:nvCxnSpPr>
        <p:spPr bwMode="auto">
          <a:xfrm>
            <a:off x="0" y="1857375"/>
            <a:ext cx="7643813" cy="1588"/>
          </a:xfrm>
          <a:prstGeom prst="line">
            <a:avLst/>
          </a:prstGeom>
          <a:noFill/>
          <a:ln w="28575" algn="ctr">
            <a:solidFill>
              <a:schemeClr val="accent6">
                <a:lumMod val="60000"/>
                <a:lumOff val="40000"/>
              </a:schemeClr>
            </a:solidFill>
            <a:round/>
            <a:headEnd/>
            <a:tailEnd type="triangle" w="med" len="med"/>
          </a:ln>
          <a:effectLst/>
          <a:extLst/>
        </p:spPr>
      </p:cxnSp>
      <p:sp>
        <p:nvSpPr>
          <p:cNvPr id="15" name="Titolo 1"/>
          <p:cNvSpPr txBox="1">
            <a:spLocks/>
          </p:cNvSpPr>
          <p:nvPr userDrawn="1"/>
        </p:nvSpPr>
        <p:spPr>
          <a:xfrm>
            <a:off x="0" y="1285875"/>
            <a:ext cx="7643813" cy="571500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endParaRPr lang="it-IT" sz="28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152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0.xml"/><Relationship Id="rId13" Type="http://schemas.openxmlformats.org/officeDocument/2006/relationships/image" Target="../media/image11.wmf"/><Relationship Id="rId18" Type="http://schemas.microsoft.com/office/2007/relationships/diagramDrawing" Target="../diagrams/drawing21.xml"/><Relationship Id="rId3" Type="http://schemas.openxmlformats.org/officeDocument/2006/relationships/diagramData" Target="../diagrams/data19.xml"/><Relationship Id="rId21" Type="http://schemas.openxmlformats.org/officeDocument/2006/relationships/diagramQuickStyle" Target="../diagrams/quickStyle22.xml"/><Relationship Id="rId7" Type="http://schemas.microsoft.com/office/2007/relationships/diagramDrawing" Target="../diagrams/drawing19.xml"/><Relationship Id="rId12" Type="http://schemas.microsoft.com/office/2007/relationships/diagramDrawing" Target="../diagrams/drawing20.xml"/><Relationship Id="rId17" Type="http://schemas.openxmlformats.org/officeDocument/2006/relationships/diagramColors" Target="../diagrams/colors21.xml"/><Relationship Id="rId2" Type="http://schemas.openxmlformats.org/officeDocument/2006/relationships/notesSlide" Target="../notesSlides/notesSlide2.xml"/><Relationship Id="rId16" Type="http://schemas.openxmlformats.org/officeDocument/2006/relationships/diagramQuickStyle" Target="../diagrams/quickStyle21.xml"/><Relationship Id="rId20" Type="http://schemas.openxmlformats.org/officeDocument/2006/relationships/diagramLayout" Target="../diagrams/layout22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9.xml"/><Relationship Id="rId11" Type="http://schemas.openxmlformats.org/officeDocument/2006/relationships/diagramColors" Target="../diagrams/colors20.xml"/><Relationship Id="rId5" Type="http://schemas.openxmlformats.org/officeDocument/2006/relationships/diagramQuickStyle" Target="../diagrams/quickStyle19.xml"/><Relationship Id="rId15" Type="http://schemas.openxmlformats.org/officeDocument/2006/relationships/diagramLayout" Target="../diagrams/layout21.xml"/><Relationship Id="rId23" Type="http://schemas.microsoft.com/office/2007/relationships/diagramDrawing" Target="../diagrams/drawing22.xml"/><Relationship Id="rId10" Type="http://schemas.openxmlformats.org/officeDocument/2006/relationships/diagramQuickStyle" Target="../diagrams/quickStyle20.xml"/><Relationship Id="rId19" Type="http://schemas.openxmlformats.org/officeDocument/2006/relationships/diagramData" Target="../diagrams/data22.xml"/><Relationship Id="rId4" Type="http://schemas.openxmlformats.org/officeDocument/2006/relationships/diagramLayout" Target="../diagrams/layout19.xml"/><Relationship Id="rId9" Type="http://schemas.openxmlformats.org/officeDocument/2006/relationships/diagramLayout" Target="../diagrams/layout20.xml"/><Relationship Id="rId14" Type="http://schemas.openxmlformats.org/officeDocument/2006/relationships/diagramData" Target="../diagrams/data21.xml"/><Relationship Id="rId22" Type="http://schemas.openxmlformats.org/officeDocument/2006/relationships/diagramColors" Target="../diagrams/colors2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4.xml"/><Relationship Id="rId3" Type="http://schemas.openxmlformats.org/officeDocument/2006/relationships/diagramData" Target="../diagrams/data23.xml"/><Relationship Id="rId7" Type="http://schemas.microsoft.com/office/2007/relationships/diagramDrawing" Target="../diagrams/drawing23.xml"/><Relationship Id="rId12" Type="http://schemas.microsoft.com/office/2007/relationships/diagramDrawing" Target="../diagrams/drawing2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23.xml"/><Relationship Id="rId11" Type="http://schemas.openxmlformats.org/officeDocument/2006/relationships/diagramColors" Target="../diagrams/colors24.xml"/><Relationship Id="rId5" Type="http://schemas.openxmlformats.org/officeDocument/2006/relationships/diagramQuickStyle" Target="../diagrams/quickStyle23.xml"/><Relationship Id="rId10" Type="http://schemas.openxmlformats.org/officeDocument/2006/relationships/diagramQuickStyle" Target="../diagrams/quickStyle24.xml"/><Relationship Id="rId4" Type="http://schemas.openxmlformats.org/officeDocument/2006/relationships/diagramLayout" Target="../diagrams/layout23.xml"/><Relationship Id="rId9" Type="http://schemas.openxmlformats.org/officeDocument/2006/relationships/diagramLayout" Target="../diagrams/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5.xml"/><Relationship Id="rId2" Type="http://schemas.openxmlformats.org/officeDocument/2006/relationships/diagramData" Target="../diagrams/data2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5.xml"/><Relationship Id="rId5" Type="http://schemas.openxmlformats.org/officeDocument/2006/relationships/diagramColors" Target="../diagrams/colors25.xml"/><Relationship Id="rId4" Type="http://schemas.openxmlformats.org/officeDocument/2006/relationships/diagramQuickStyle" Target="../diagrams/quickStyle2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6.xml"/><Relationship Id="rId2" Type="http://schemas.openxmlformats.org/officeDocument/2006/relationships/diagramData" Target="../diagrams/data26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6.xml"/><Relationship Id="rId5" Type="http://schemas.openxmlformats.org/officeDocument/2006/relationships/diagramColors" Target="../diagrams/colors26.xml"/><Relationship Id="rId4" Type="http://schemas.openxmlformats.org/officeDocument/2006/relationships/diagramQuickStyle" Target="../diagrams/quickStyle2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8.xml"/><Relationship Id="rId3" Type="http://schemas.openxmlformats.org/officeDocument/2006/relationships/diagramLayout" Target="../diagrams/layout27.xml"/><Relationship Id="rId7" Type="http://schemas.openxmlformats.org/officeDocument/2006/relationships/diagramData" Target="../diagrams/data28.xml"/><Relationship Id="rId2" Type="http://schemas.openxmlformats.org/officeDocument/2006/relationships/diagramData" Target="../diagrams/data2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7.xml"/><Relationship Id="rId11" Type="http://schemas.microsoft.com/office/2007/relationships/diagramDrawing" Target="../diagrams/drawing28.xml"/><Relationship Id="rId5" Type="http://schemas.openxmlformats.org/officeDocument/2006/relationships/diagramColors" Target="../diagrams/colors27.xml"/><Relationship Id="rId10" Type="http://schemas.openxmlformats.org/officeDocument/2006/relationships/diagramColors" Target="../diagrams/colors28.xml"/><Relationship Id="rId4" Type="http://schemas.openxmlformats.org/officeDocument/2006/relationships/diagramQuickStyle" Target="../diagrams/quickStyle27.xml"/><Relationship Id="rId9" Type="http://schemas.openxmlformats.org/officeDocument/2006/relationships/diagramQuickStyle" Target="../diagrams/quickStyle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0.xml"/><Relationship Id="rId13" Type="http://schemas.openxmlformats.org/officeDocument/2006/relationships/diagramLayout" Target="../diagrams/layout31.xml"/><Relationship Id="rId18" Type="http://schemas.openxmlformats.org/officeDocument/2006/relationships/diagramLayout" Target="../diagrams/layout32.xml"/><Relationship Id="rId3" Type="http://schemas.openxmlformats.org/officeDocument/2006/relationships/diagramLayout" Target="../diagrams/layout29.xml"/><Relationship Id="rId21" Type="http://schemas.microsoft.com/office/2007/relationships/diagramDrawing" Target="../diagrams/drawing32.xml"/><Relationship Id="rId7" Type="http://schemas.openxmlformats.org/officeDocument/2006/relationships/diagramData" Target="../diagrams/data30.xml"/><Relationship Id="rId12" Type="http://schemas.openxmlformats.org/officeDocument/2006/relationships/diagramData" Target="../diagrams/data31.xml"/><Relationship Id="rId17" Type="http://schemas.openxmlformats.org/officeDocument/2006/relationships/diagramData" Target="../diagrams/data32.xml"/><Relationship Id="rId2" Type="http://schemas.openxmlformats.org/officeDocument/2006/relationships/diagramData" Target="../diagrams/data29.xml"/><Relationship Id="rId16" Type="http://schemas.microsoft.com/office/2007/relationships/diagramDrawing" Target="../diagrams/drawing31.xml"/><Relationship Id="rId20" Type="http://schemas.openxmlformats.org/officeDocument/2006/relationships/diagramColors" Target="../diagrams/colors3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9.xml"/><Relationship Id="rId11" Type="http://schemas.microsoft.com/office/2007/relationships/diagramDrawing" Target="../diagrams/drawing30.xml"/><Relationship Id="rId5" Type="http://schemas.openxmlformats.org/officeDocument/2006/relationships/diagramColors" Target="../diagrams/colors29.xml"/><Relationship Id="rId15" Type="http://schemas.openxmlformats.org/officeDocument/2006/relationships/diagramColors" Target="../diagrams/colors31.xml"/><Relationship Id="rId10" Type="http://schemas.openxmlformats.org/officeDocument/2006/relationships/diagramColors" Target="../diagrams/colors30.xml"/><Relationship Id="rId19" Type="http://schemas.openxmlformats.org/officeDocument/2006/relationships/diagramQuickStyle" Target="../diagrams/quickStyle32.xml"/><Relationship Id="rId4" Type="http://schemas.openxmlformats.org/officeDocument/2006/relationships/diagramQuickStyle" Target="../diagrams/quickStyle29.xml"/><Relationship Id="rId9" Type="http://schemas.openxmlformats.org/officeDocument/2006/relationships/diagramQuickStyle" Target="../diagrams/quickStyle30.xml"/><Relationship Id="rId14" Type="http://schemas.openxmlformats.org/officeDocument/2006/relationships/diagramQuickStyle" Target="../diagrams/quickStyle31.xml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35.xml"/><Relationship Id="rId18" Type="http://schemas.openxmlformats.org/officeDocument/2006/relationships/diagramLayout" Target="../diagrams/layout36.xml"/><Relationship Id="rId26" Type="http://schemas.microsoft.com/office/2007/relationships/diagramDrawing" Target="../diagrams/drawing37.xml"/><Relationship Id="rId39" Type="http://schemas.openxmlformats.org/officeDocument/2006/relationships/diagramQuickStyle" Target="../diagrams/quickStyle40.xml"/><Relationship Id="rId3" Type="http://schemas.openxmlformats.org/officeDocument/2006/relationships/diagramLayout" Target="../diagrams/layout33.xml"/><Relationship Id="rId21" Type="http://schemas.microsoft.com/office/2007/relationships/diagramDrawing" Target="../diagrams/drawing36.xml"/><Relationship Id="rId34" Type="http://schemas.openxmlformats.org/officeDocument/2006/relationships/diagramQuickStyle" Target="../diagrams/quickStyle39.xml"/><Relationship Id="rId42" Type="http://schemas.openxmlformats.org/officeDocument/2006/relationships/diagramData" Target="../diagrams/data41.xml"/><Relationship Id="rId47" Type="http://schemas.openxmlformats.org/officeDocument/2006/relationships/diagramData" Target="../diagrams/data42.xml"/><Relationship Id="rId50" Type="http://schemas.openxmlformats.org/officeDocument/2006/relationships/diagramColors" Target="../diagrams/colors42.xml"/><Relationship Id="rId7" Type="http://schemas.openxmlformats.org/officeDocument/2006/relationships/diagramData" Target="../diagrams/data34.xml"/><Relationship Id="rId12" Type="http://schemas.openxmlformats.org/officeDocument/2006/relationships/diagramData" Target="../diagrams/data35.xml"/><Relationship Id="rId17" Type="http://schemas.openxmlformats.org/officeDocument/2006/relationships/diagramData" Target="../diagrams/data36.xml"/><Relationship Id="rId25" Type="http://schemas.openxmlformats.org/officeDocument/2006/relationships/diagramColors" Target="../diagrams/colors37.xml"/><Relationship Id="rId33" Type="http://schemas.openxmlformats.org/officeDocument/2006/relationships/diagramLayout" Target="../diagrams/layout39.xml"/><Relationship Id="rId38" Type="http://schemas.openxmlformats.org/officeDocument/2006/relationships/diagramLayout" Target="../diagrams/layout40.xml"/><Relationship Id="rId46" Type="http://schemas.microsoft.com/office/2007/relationships/diagramDrawing" Target="../diagrams/drawing41.xml"/><Relationship Id="rId2" Type="http://schemas.openxmlformats.org/officeDocument/2006/relationships/diagramData" Target="../diagrams/data33.xml"/><Relationship Id="rId16" Type="http://schemas.microsoft.com/office/2007/relationships/diagramDrawing" Target="../diagrams/drawing35.xml"/><Relationship Id="rId20" Type="http://schemas.openxmlformats.org/officeDocument/2006/relationships/diagramColors" Target="../diagrams/colors36.xml"/><Relationship Id="rId29" Type="http://schemas.openxmlformats.org/officeDocument/2006/relationships/diagramQuickStyle" Target="../diagrams/quickStyle38.xml"/><Relationship Id="rId41" Type="http://schemas.microsoft.com/office/2007/relationships/diagramDrawing" Target="../diagrams/drawing4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3.xml"/><Relationship Id="rId11" Type="http://schemas.microsoft.com/office/2007/relationships/diagramDrawing" Target="../diagrams/drawing34.xml"/><Relationship Id="rId24" Type="http://schemas.openxmlformats.org/officeDocument/2006/relationships/diagramQuickStyle" Target="../diagrams/quickStyle37.xml"/><Relationship Id="rId32" Type="http://schemas.openxmlformats.org/officeDocument/2006/relationships/diagramData" Target="../diagrams/data39.xml"/><Relationship Id="rId37" Type="http://schemas.openxmlformats.org/officeDocument/2006/relationships/diagramData" Target="../diagrams/data40.xml"/><Relationship Id="rId40" Type="http://schemas.openxmlformats.org/officeDocument/2006/relationships/diagramColors" Target="../diagrams/colors40.xml"/><Relationship Id="rId45" Type="http://schemas.openxmlformats.org/officeDocument/2006/relationships/diagramColors" Target="../diagrams/colors41.xml"/><Relationship Id="rId5" Type="http://schemas.openxmlformats.org/officeDocument/2006/relationships/diagramColors" Target="../diagrams/colors33.xml"/><Relationship Id="rId15" Type="http://schemas.openxmlformats.org/officeDocument/2006/relationships/diagramColors" Target="../diagrams/colors35.xml"/><Relationship Id="rId23" Type="http://schemas.openxmlformats.org/officeDocument/2006/relationships/diagramLayout" Target="../diagrams/layout37.xml"/><Relationship Id="rId28" Type="http://schemas.openxmlformats.org/officeDocument/2006/relationships/diagramLayout" Target="../diagrams/layout38.xml"/><Relationship Id="rId36" Type="http://schemas.microsoft.com/office/2007/relationships/diagramDrawing" Target="../diagrams/drawing39.xml"/><Relationship Id="rId49" Type="http://schemas.openxmlformats.org/officeDocument/2006/relationships/diagramQuickStyle" Target="../diagrams/quickStyle42.xml"/><Relationship Id="rId10" Type="http://schemas.openxmlformats.org/officeDocument/2006/relationships/diagramColors" Target="../diagrams/colors34.xml"/><Relationship Id="rId19" Type="http://schemas.openxmlformats.org/officeDocument/2006/relationships/diagramQuickStyle" Target="../diagrams/quickStyle36.xml"/><Relationship Id="rId31" Type="http://schemas.microsoft.com/office/2007/relationships/diagramDrawing" Target="../diagrams/drawing38.xml"/><Relationship Id="rId44" Type="http://schemas.openxmlformats.org/officeDocument/2006/relationships/diagramQuickStyle" Target="../diagrams/quickStyle41.xml"/><Relationship Id="rId4" Type="http://schemas.openxmlformats.org/officeDocument/2006/relationships/diagramQuickStyle" Target="../diagrams/quickStyle33.xml"/><Relationship Id="rId9" Type="http://schemas.openxmlformats.org/officeDocument/2006/relationships/diagramQuickStyle" Target="../diagrams/quickStyle34.xml"/><Relationship Id="rId14" Type="http://schemas.openxmlformats.org/officeDocument/2006/relationships/diagramQuickStyle" Target="../diagrams/quickStyle35.xml"/><Relationship Id="rId22" Type="http://schemas.openxmlformats.org/officeDocument/2006/relationships/diagramData" Target="../diagrams/data37.xml"/><Relationship Id="rId27" Type="http://schemas.openxmlformats.org/officeDocument/2006/relationships/diagramData" Target="../diagrams/data38.xml"/><Relationship Id="rId30" Type="http://schemas.openxmlformats.org/officeDocument/2006/relationships/diagramColors" Target="../diagrams/colors38.xml"/><Relationship Id="rId35" Type="http://schemas.openxmlformats.org/officeDocument/2006/relationships/diagramColors" Target="../diagrams/colors39.xml"/><Relationship Id="rId43" Type="http://schemas.openxmlformats.org/officeDocument/2006/relationships/diagramLayout" Target="../diagrams/layout41.xml"/><Relationship Id="rId48" Type="http://schemas.openxmlformats.org/officeDocument/2006/relationships/diagramLayout" Target="../diagrams/layout42.xml"/><Relationship Id="rId8" Type="http://schemas.openxmlformats.org/officeDocument/2006/relationships/diagramLayout" Target="../diagrams/layout34.xml"/><Relationship Id="rId51" Type="http://schemas.microsoft.com/office/2007/relationships/diagramDrawing" Target="../diagrams/drawing42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diagramLayout" Target="../diagrams/layout44.xml"/><Relationship Id="rId18" Type="http://schemas.openxmlformats.org/officeDocument/2006/relationships/diagramLayout" Target="../diagrams/layout45.xml"/><Relationship Id="rId26" Type="http://schemas.microsoft.com/office/2007/relationships/diagramDrawing" Target="../diagrams/drawing46.xml"/><Relationship Id="rId39" Type="http://schemas.openxmlformats.org/officeDocument/2006/relationships/diagramQuickStyle" Target="../diagrams/quickStyle49.xml"/><Relationship Id="rId21" Type="http://schemas.microsoft.com/office/2007/relationships/diagramDrawing" Target="../diagrams/drawing45.xml"/><Relationship Id="rId34" Type="http://schemas.openxmlformats.org/officeDocument/2006/relationships/diagramQuickStyle" Target="../diagrams/quickStyle48.xml"/><Relationship Id="rId42" Type="http://schemas.openxmlformats.org/officeDocument/2006/relationships/diagramData" Target="../diagrams/data50.xml"/><Relationship Id="rId47" Type="http://schemas.openxmlformats.org/officeDocument/2006/relationships/diagramData" Target="../diagrams/data51.xml"/><Relationship Id="rId50" Type="http://schemas.openxmlformats.org/officeDocument/2006/relationships/diagramColors" Target="../diagrams/colors51.xml"/><Relationship Id="rId55" Type="http://schemas.openxmlformats.org/officeDocument/2006/relationships/diagramColors" Target="../diagrams/colors52.xml"/><Relationship Id="rId63" Type="http://schemas.openxmlformats.org/officeDocument/2006/relationships/diagramLayout" Target="../diagrams/layout54.xml"/><Relationship Id="rId68" Type="http://schemas.openxmlformats.org/officeDocument/2006/relationships/diagramLayout" Target="../diagrams/layout55.xml"/><Relationship Id="rId76" Type="http://schemas.microsoft.com/office/2007/relationships/diagramDrawing" Target="../diagrams/drawing56.xml"/><Relationship Id="rId84" Type="http://schemas.openxmlformats.org/officeDocument/2006/relationships/diagramQuickStyle" Target="../diagrams/quickStyle58.xml"/><Relationship Id="rId7" Type="http://schemas.openxmlformats.org/officeDocument/2006/relationships/diagramData" Target="../diagrams/data43.xml"/><Relationship Id="rId71" Type="http://schemas.microsoft.com/office/2007/relationships/diagramDrawing" Target="../diagrams/drawing55.xml"/><Relationship Id="rId2" Type="http://schemas.openxmlformats.org/officeDocument/2006/relationships/notesSlide" Target="../notesSlides/notesSlide4.xml"/><Relationship Id="rId16" Type="http://schemas.microsoft.com/office/2007/relationships/diagramDrawing" Target="../diagrams/drawing44.xml"/><Relationship Id="rId29" Type="http://schemas.openxmlformats.org/officeDocument/2006/relationships/diagramQuickStyle" Target="../diagrams/quickStyle47.xml"/><Relationship Id="rId11" Type="http://schemas.microsoft.com/office/2007/relationships/diagramDrawing" Target="../diagrams/drawing43.xml"/><Relationship Id="rId24" Type="http://schemas.openxmlformats.org/officeDocument/2006/relationships/diagramQuickStyle" Target="../diagrams/quickStyle46.xml"/><Relationship Id="rId32" Type="http://schemas.openxmlformats.org/officeDocument/2006/relationships/diagramData" Target="../diagrams/data48.xml"/><Relationship Id="rId37" Type="http://schemas.openxmlformats.org/officeDocument/2006/relationships/diagramData" Target="../diagrams/data49.xml"/><Relationship Id="rId40" Type="http://schemas.openxmlformats.org/officeDocument/2006/relationships/diagramColors" Target="../diagrams/colors49.xml"/><Relationship Id="rId45" Type="http://schemas.openxmlformats.org/officeDocument/2006/relationships/diagramColors" Target="../diagrams/colors50.xml"/><Relationship Id="rId53" Type="http://schemas.openxmlformats.org/officeDocument/2006/relationships/diagramLayout" Target="../diagrams/layout52.xml"/><Relationship Id="rId58" Type="http://schemas.openxmlformats.org/officeDocument/2006/relationships/diagramLayout" Target="../diagrams/layout53.xml"/><Relationship Id="rId66" Type="http://schemas.microsoft.com/office/2007/relationships/diagramDrawing" Target="../diagrams/drawing54.xml"/><Relationship Id="rId74" Type="http://schemas.openxmlformats.org/officeDocument/2006/relationships/diagramQuickStyle" Target="../diagrams/quickStyle56.xml"/><Relationship Id="rId79" Type="http://schemas.openxmlformats.org/officeDocument/2006/relationships/diagramQuickStyle" Target="../diagrams/quickStyle57.xml"/><Relationship Id="rId5" Type="http://schemas.openxmlformats.org/officeDocument/2006/relationships/image" Target="../media/image5.png"/><Relationship Id="rId61" Type="http://schemas.microsoft.com/office/2007/relationships/diagramDrawing" Target="../diagrams/drawing53.xml"/><Relationship Id="rId82" Type="http://schemas.openxmlformats.org/officeDocument/2006/relationships/diagramData" Target="../diagrams/data58.xml"/><Relationship Id="rId19" Type="http://schemas.openxmlformats.org/officeDocument/2006/relationships/diagramQuickStyle" Target="../diagrams/quickStyle45.xml"/><Relationship Id="rId4" Type="http://schemas.openxmlformats.org/officeDocument/2006/relationships/image" Target="../media/image17.jpeg"/><Relationship Id="rId9" Type="http://schemas.openxmlformats.org/officeDocument/2006/relationships/diagramQuickStyle" Target="../diagrams/quickStyle43.xml"/><Relationship Id="rId14" Type="http://schemas.openxmlformats.org/officeDocument/2006/relationships/diagramQuickStyle" Target="../diagrams/quickStyle44.xml"/><Relationship Id="rId22" Type="http://schemas.openxmlformats.org/officeDocument/2006/relationships/diagramData" Target="../diagrams/data46.xml"/><Relationship Id="rId27" Type="http://schemas.openxmlformats.org/officeDocument/2006/relationships/diagramData" Target="../diagrams/data47.xml"/><Relationship Id="rId30" Type="http://schemas.openxmlformats.org/officeDocument/2006/relationships/diagramColors" Target="../diagrams/colors47.xml"/><Relationship Id="rId35" Type="http://schemas.openxmlformats.org/officeDocument/2006/relationships/diagramColors" Target="../diagrams/colors48.xml"/><Relationship Id="rId43" Type="http://schemas.openxmlformats.org/officeDocument/2006/relationships/diagramLayout" Target="../diagrams/layout50.xml"/><Relationship Id="rId48" Type="http://schemas.openxmlformats.org/officeDocument/2006/relationships/diagramLayout" Target="../diagrams/layout51.xml"/><Relationship Id="rId56" Type="http://schemas.microsoft.com/office/2007/relationships/diagramDrawing" Target="../diagrams/drawing52.xml"/><Relationship Id="rId64" Type="http://schemas.openxmlformats.org/officeDocument/2006/relationships/diagramQuickStyle" Target="../diagrams/quickStyle54.xml"/><Relationship Id="rId69" Type="http://schemas.openxmlformats.org/officeDocument/2006/relationships/diagramQuickStyle" Target="../diagrams/quickStyle55.xml"/><Relationship Id="rId77" Type="http://schemas.openxmlformats.org/officeDocument/2006/relationships/diagramData" Target="../diagrams/data57.xml"/><Relationship Id="rId8" Type="http://schemas.openxmlformats.org/officeDocument/2006/relationships/diagramLayout" Target="../diagrams/layout43.xml"/><Relationship Id="rId51" Type="http://schemas.microsoft.com/office/2007/relationships/diagramDrawing" Target="../diagrams/drawing51.xml"/><Relationship Id="rId72" Type="http://schemas.openxmlformats.org/officeDocument/2006/relationships/diagramData" Target="../diagrams/data56.xml"/><Relationship Id="rId80" Type="http://schemas.openxmlformats.org/officeDocument/2006/relationships/diagramColors" Target="../diagrams/colors57.xml"/><Relationship Id="rId85" Type="http://schemas.openxmlformats.org/officeDocument/2006/relationships/diagramColors" Target="../diagrams/colors58.xml"/><Relationship Id="rId3" Type="http://schemas.openxmlformats.org/officeDocument/2006/relationships/image" Target="../media/image3.png"/><Relationship Id="rId12" Type="http://schemas.openxmlformats.org/officeDocument/2006/relationships/diagramData" Target="../diagrams/data44.xml"/><Relationship Id="rId17" Type="http://schemas.openxmlformats.org/officeDocument/2006/relationships/diagramData" Target="../diagrams/data45.xml"/><Relationship Id="rId25" Type="http://schemas.openxmlformats.org/officeDocument/2006/relationships/diagramColors" Target="../diagrams/colors46.xml"/><Relationship Id="rId33" Type="http://schemas.openxmlformats.org/officeDocument/2006/relationships/diagramLayout" Target="../diagrams/layout48.xml"/><Relationship Id="rId38" Type="http://schemas.openxmlformats.org/officeDocument/2006/relationships/diagramLayout" Target="../diagrams/layout49.xml"/><Relationship Id="rId46" Type="http://schemas.microsoft.com/office/2007/relationships/diagramDrawing" Target="../diagrams/drawing50.xml"/><Relationship Id="rId59" Type="http://schemas.openxmlformats.org/officeDocument/2006/relationships/diagramQuickStyle" Target="../diagrams/quickStyle53.xml"/><Relationship Id="rId67" Type="http://schemas.openxmlformats.org/officeDocument/2006/relationships/diagramData" Target="../diagrams/data55.xml"/><Relationship Id="rId20" Type="http://schemas.openxmlformats.org/officeDocument/2006/relationships/diagramColors" Target="../diagrams/colors45.xml"/><Relationship Id="rId41" Type="http://schemas.microsoft.com/office/2007/relationships/diagramDrawing" Target="../diagrams/drawing49.xml"/><Relationship Id="rId54" Type="http://schemas.openxmlformats.org/officeDocument/2006/relationships/diagramQuickStyle" Target="../diagrams/quickStyle52.xml"/><Relationship Id="rId62" Type="http://schemas.openxmlformats.org/officeDocument/2006/relationships/diagramData" Target="../diagrams/data54.xml"/><Relationship Id="rId70" Type="http://schemas.openxmlformats.org/officeDocument/2006/relationships/diagramColors" Target="../diagrams/colors55.xml"/><Relationship Id="rId75" Type="http://schemas.openxmlformats.org/officeDocument/2006/relationships/diagramColors" Target="../diagrams/colors56.xml"/><Relationship Id="rId83" Type="http://schemas.openxmlformats.org/officeDocument/2006/relationships/diagramLayout" Target="../diagrams/layout5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jpeg"/><Relationship Id="rId15" Type="http://schemas.openxmlformats.org/officeDocument/2006/relationships/diagramColors" Target="../diagrams/colors44.xml"/><Relationship Id="rId23" Type="http://schemas.openxmlformats.org/officeDocument/2006/relationships/diagramLayout" Target="../diagrams/layout46.xml"/><Relationship Id="rId28" Type="http://schemas.openxmlformats.org/officeDocument/2006/relationships/diagramLayout" Target="../diagrams/layout47.xml"/><Relationship Id="rId36" Type="http://schemas.microsoft.com/office/2007/relationships/diagramDrawing" Target="../diagrams/drawing48.xml"/><Relationship Id="rId49" Type="http://schemas.openxmlformats.org/officeDocument/2006/relationships/diagramQuickStyle" Target="../diagrams/quickStyle51.xml"/><Relationship Id="rId57" Type="http://schemas.openxmlformats.org/officeDocument/2006/relationships/diagramData" Target="../diagrams/data53.xml"/><Relationship Id="rId10" Type="http://schemas.openxmlformats.org/officeDocument/2006/relationships/diagramColors" Target="../diagrams/colors43.xml"/><Relationship Id="rId31" Type="http://schemas.microsoft.com/office/2007/relationships/diagramDrawing" Target="../diagrams/drawing47.xml"/><Relationship Id="rId44" Type="http://schemas.openxmlformats.org/officeDocument/2006/relationships/diagramQuickStyle" Target="../diagrams/quickStyle50.xml"/><Relationship Id="rId52" Type="http://schemas.openxmlformats.org/officeDocument/2006/relationships/diagramData" Target="../diagrams/data52.xml"/><Relationship Id="rId60" Type="http://schemas.openxmlformats.org/officeDocument/2006/relationships/diagramColors" Target="../diagrams/colors53.xml"/><Relationship Id="rId65" Type="http://schemas.openxmlformats.org/officeDocument/2006/relationships/diagramColors" Target="../diagrams/colors54.xml"/><Relationship Id="rId73" Type="http://schemas.openxmlformats.org/officeDocument/2006/relationships/diagramLayout" Target="../diagrams/layout56.xml"/><Relationship Id="rId78" Type="http://schemas.openxmlformats.org/officeDocument/2006/relationships/diagramLayout" Target="../diagrams/layout57.xml"/><Relationship Id="rId81" Type="http://schemas.microsoft.com/office/2007/relationships/diagramDrawing" Target="../diagrams/drawing57.xml"/><Relationship Id="rId86" Type="http://schemas.microsoft.com/office/2007/relationships/diagramDrawing" Target="../diagrams/drawing5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diagramData" Target="../diagrams/data59.xml"/><Relationship Id="rId7" Type="http://schemas.microsoft.com/office/2007/relationships/diagramDrawing" Target="../diagrams/drawing59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59.xml"/><Relationship Id="rId5" Type="http://schemas.openxmlformats.org/officeDocument/2006/relationships/diagramQuickStyle" Target="../diagrams/quickStyle59.xml"/><Relationship Id="rId4" Type="http://schemas.openxmlformats.org/officeDocument/2006/relationships/diagramLayout" Target="../diagrams/layout5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1.xml"/><Relationship Id="rId13" Type="http://schemas.openxmlformats.org/officeDocument/2006/relationships/diagramLayout" Target="../diagrams/layout62.xml"/><Relationship Id="rId3" Type="http://schemas.openxmlformats.org/officeDocument/2006/relationships/diagramLayout" Target="../diagrams/layout60.xml"/><Relationship Id="rId7" Type="http://schemas.openxmlformats.org/officeDocument/2006/relationships/diagramData" Target="../diagrams/data61.xml"/><Relationship Id="rId12" Type="http://schemas.openxmlformats.org/officeDocument/2006/relationships/diagramData" Target="../diagrams/data62.xml"/><Relationship Id="rId2" Type="http://schemas.openxmlformats.org/officeDocument/2006/relationships/diagramData" Target="../diagrams/data60.xml"/><Relationship Id="rId16" Type="http://schemas.microsoft.com/office/2007/relationships/diagramDrawing" Target="../diagrams/drawing6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0.xml"/><Relationship Id="rId11" Type="http://schemas.microsoft.com/office/2007/relationships/diagramDrawing" Target="../diagrams/drawing61.xml"/><Relationship Id="rId5" Type="http://schemas.openxmlformats.org/officeDocument/2006/relationships/diagramColors" Target="../diagrams/colors60.xml"/><Relationship Id="rId15" Type="http://schemas.openxmlformats.org/officeDocument/2006/relationships/diagramColors" Target="../diagrams/colors62.xml"/><Relationship Id="rId10" Type="http://schemas.openxmlformats.org/officeDocument/2006/relationships/diagramColors" Target="../diagrams/colors61.xml"/><Relationship Id="rId4" Type="http://schemas.openxmlformats.org/officeDocument/2006/relationships/diagramQuickStyle" Target="../diagrams/quickStyle60.xml"/><Relationship Id="rId9" Type="http://schemas.openxmlformats.org/officeDocument/2006/relationships/diagramQuickStyle" Target="../diagrams/quickStyle61.xml"/><Relationship Id="rId14" Type="http://schemas.openxmlformats.org/officeDocument/2006/relationships/diagramQuickStyle" Target="../diagrams/quickStyle6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4.xml"/><Relationship Id="rId13" Type="http://schemas.openxmlformats.org/officeDocument/2006/relationships/diagramLayout" Target="../diagrams/layout65.xml"/><Relationship Id="rId3" Type="http://schemas.openxmlformats.org/officeDocument/2006/relationships/diagramLayout" Target="../diagrams/layout63.xml"/><Relationship Id="rId7" Type="http://schemas.openxmlformats.org/officeDocument/2006/relationships/diagramData" Target="../diagrams/data64.xml"/><Relationship Id="rId12" Type="http://schemas.openxmlformats.org/officeDocument/2006/relationships/diagramData" Target="../diagrams/data65.xml"/><Relationship Id="rId2" Type="http://schemas.openxmlformats.org/officeDocument/2006/relationships/diagramData" Target="../diagrams/data63.xml"/><Relationship Id="rId16" Type="http://schemas.microsoft.com/office/2007/relationships/diagramDrawing" Target="../diagrams/drawing6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3.xml"/><Relationship Id="rId11" Type="http://schemas.microsoft.com/office/2007/relationships/diagramDrawing" Target="../diagrams/drawing64.xml"/><Relationship Id="rId5" Type="http://schemas.openxmlformats.org/officeDocument/2006/relationships/diagramColors" Target="../diagrams/colors63.xml"/><Relationship Id="rId15" Type="http://schemas.openxmlformats.org/officeDocument/2006/relationships/diagramColors" Target="../diagrams/colors65.xml"/><Relationship Id="rId10" Type="http://schemas.openxmlformats.org/officeDocument/2006/relationships/diagramColors" Target="../diagrams/colors64.xml"/><Relationship Id="rId4" Type="http://schemas.openxmlformats.org/officeDocument/2006/relationships/diagramQuickStyle" Target="../diagrams/quickStyle63.xml"/><Relationship Id="rId9" Type="http://schemas.openxmlformats.org/officeDocument/2006/relationships/diagramQuickStyle" Target="../diagrams/quickStyle64.xml"/><Relationship Id="rId14" Type="http://schemas.openxmlformats.org/officeDocument/2006/relationships/diagramQuickStyle" Target="../diagrams/quickStyle6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7.xml"/><Relationship Id="rId13" Type="http://schemas.openxmlformats.org/officeDocument/2006/relationships/diagramLayout" Target="../diagrams/layout68.xml"/><Relationship Id="rId3" Type="http://schemas.openxmlformats.org/officeDocument/2006/relationships/diagramLayout" Target="../diagrams/layout66.xml"/><Relationship Id="rId7" Type="http://schemas.openxmlformats.org/officeDocument/2006/relationships/diagramData" Target="../diagrams/data67.xml"/><Relationship Id="rId12" Type="http://schemas.openxmlformats.org/officeDocument/2006/relationships/diagramData" Target="../diagrams/data68.xml"/><Relationship Id="rId2" Type="http://schemas.openxmlformats.org/officeDocument/2006/relationships/diagramData" Target="../diagrams/data66.xml"/><Relationship Id="rId16" Type="http://schemas.microsoft.com/office/2007/relationships/diagramDrawing" Target="../diagrams/drawing68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6.xml"/><Relationship Id="rId11" Type="http://schemas.microsoft.com/office/2007/relationships/diagramDrawing" Target="../diagrams/drawing67.xml"/><Relationship Id="rId5" Type="http://schemas.openxmlformats.org/officeDocument/2006/relationships/diagramColors" Target="../diagrams/colors66.xml"/><Relationship Id="rId15" Type="http://schemas.openxmlformats.org/officeDocument/2006/relationships/diagramColors" Target="../diagrams/colors68.xml"/><Relationship Id="rId10" Type="http://schemas.openxmlformats.org/officeDocument/2006/relationships/diagramColors" Target="../diagrams/colors67.xml"/><Relationship Id="rId4" Type="http://schemas.openxmlformats.org/officeDocument/2006/relationships/diagramQuickStyle" Target="../diagrams/quickStyle66.xml"/><Relationship Id="rId9" Type="http://schemas.openxmlformats.org/officeDocument/2006/relationships/diagramQuickStyle" Target="../diagrams/quickStyle67.xml"/><Relationship Id="rId14" Type="http://schemas.openxmlformats.org/officeDocument/2006/relationships/diagramQuickStyle" Target="../diagrams/quickStyle6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0.xml"/><Relationship Id="rId13" Type="http://schemas.openxmlformats.org/officeDocument/2006/relationships/diagramLayout" Target="../diagrams/layout71.xml"/><Relationship Id="rId3" Type="http://schemas.openxmlformats.org/officeDocument/2006/relationships/diagramLayout" Target="../diagrams/layout69.xml"/><Relationship Id="rId7" Type="http://schemas.openxmlformats.org/officeDocument/2006/relationships/diagramData" Target="../diagrams/data70.xml"/><Relationship Id="rId12" Type="http://schemas.openxmlformats.org/officeDocument/2006/relationships/diagramData" Target="../diagrams/data71.xml"/><Relationship Id="rId2" Type="http://schemas.openxmlformats.org/officeDocument/2006/relationships/diagramData" Target="../diagrams/data69.xml"/><Relationship Id="rId16" Type="http://schemas.microsoft.com/office/2007/relationships/diagramDrawing" Target="../diagrams/drawing7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9.xml"/><Relationship Id="rId11" Type="http://schemas.microsoft.com/office/2007/relationships/diagramDrawing" Target="../diagrams/drawing70.xml"/><Relationship Id="rId5" Type="http://schemas.openxmlformats.org/officeDocument/2006/relationships/diagramColors" Target="../diagrams/colors69.xml"/><Relationship Id="rId15" Type="http://schemas.openxmlformats.org/officeDocument/2006/relationships/diagramColors" Target="../diagrams/colors71.xml"/><Relationship Id="rId10" Type="http://schemas.openxmlformats.org/officeDocument/2006/relationships/diagramColors" Target="../diagrams/colors70.xml"/><Relationship Id="rId4" Type="http://schemas.openxmlformats.org/officeDocument/2006/relationships/diagramQuickStyle" Target="../diagrams/quickStyle69.xml"/><Relationship Id="rId9" Type="http://schemas.openxmlformats.org/officeDocument/2006/relationships/diagramQuickStyle" Target="../diagrams/quickStyle70.xml"/><Relationship Id="rId14" Type="http://schemas.openxmlformats.org/officeDocument/2006/relationships/diagramQuickStyle" Target="../diagrams/quickStyle71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3.xml"/><Relationship Id="rId13" Type="http://schemas.openxmlformats.org/officeDocument/2006/relationships/diagramLayout" Target="../diagrams/layout74.xml"/><Relationship Id="rId3" Type="http://schemas.openxmlformats.org/officeDocument/2006/relationships/diagramLayout" Target="../diagrams/layout72.xml"/><Relationship Id="rId7" Type="http://schemas.openxmlformats.org/officeDocument/2006/relationships/diagramData" Target="../diagrams/data73.xml"/><Relationship Id="rId12" Type="http://schemas.openxmlformats.org/officeDocument/2006/relationships/diagramData" Target="../diagrams/data74.xml"/><Relationship Id="rId2" Type="http://schemas.openxmlformats.org/officeDocument/2006/relationships/diagramData" Target="../diagrams/data72.xml"/><Relationship Id="rId16" Type="http://schemas.microsoft.com/office/2007/relationships/diagramDrawing" Target="../diagrams/drawing7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2.xml"/><Relationship Id="rId11" Type="http://schemas.microsoft.com/office/2007/relationships/diagramDrawing" Target="../diagrams/drawing73.xml"/><Relationship Id="rId5" Type="http://schemas.openxmlformats.org/officeDocument/2006/relationships/diagramColors" Target="../diagrams/colors72.xml"/><Relationship Id="rId15" Type="http://schemas.openxmlformats.org/officeDocument/2006/relationships/diagramColors" Target="../diagrams/colors74.xml"/><Relationship Id="rId10" Type="http://schemas.openxmlformats.org/officeDocument/2006/relationships/diagramColors" Target="../diagrams/colors73.xml"/><Relationship Id="rId4" Type="http://schemas.openxmlformats.org/officeDocument/2006/relationships/diagramQuickStyle" Target="../diagrams/quickStyle72.xml"/><Relationship Id="rId9" Type="http://schemas.openxmlformats.org/officeDocument/2006/relationships/diagramQuickStyle" Target="../diagrams/quickStyle73.xml"/><Relationship Id="rId14" Type="http://schemas.openxmlformats.org/officeDocument/2006/relationships/diagramQuickStyle" Target="../diagrams/quickStyle7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6.xml"/><Relationship Id="rId13" Type="http://schemas.openxmlformats.org/officeDocument/2006/relationships/diagramLayout" Target="../diagrams/layout77.xml"/><Relationship Id="rId3" Type="http://schemas.openxmlformats.org/officeDocument/2006/relationships/diagramLayout" Target="../diagrams/layout75.xml"/><Relationship Id="rId7" Type="http://schemas.openxmlformats.org/officeDocument/2006/relationships/diagramData" Target="../diagrams/data76.xml"/><Relationship Id="rId12" Type="http://schemas.openxmlformats.org/officeDocument/2006/relationships/diagramData" Target="../diagrams/data77.xml"/><Relationship Id="rId2" Type="http://schemas.openxmlformats.org/officeDocument/2006/relationships/diagramData" Target="../diagrams/data75.xml"/><Relationship Id="rId16" Type="http://schemas.microsoft.com/office/2007/relationships/diagramDrawing" Target="../diagrams/drawing7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5.xml"/><Relationship Id="rId11" Type="http://schemas.microsoft.com/office/2007/relationships/diagramDrawing" Target="../diagrams/drawing76.xml"/><Relationship Id="rId5" Type="http://schemas.openxmlformats.org/officeDocument/2006/relationships/diagramColors" Target="../diagrams/colors75.xml"/><Relationship Id="rId15" Type="http://schemas.openxmlformats.org/officeDocument/2006/relationships/diagramColors" Target="../diagrams/colors77.xml"/><Relationship Id="rId10" Type="http://schemas.openxmlformats.org/officeDocument/2006/relationships/diagramColors" Target="../diagrams/colors76.xml"/><Relationship Id="rId4" Type="http://schemas.openxmlformats.org/officeDocument/2006/relationships/diagramQuickStyle" Target="../diagrams/quickStyle75.xml"/><Relationship Id="rId9" Type="http://schemas.openxmlformats.org/officeDocument/2006/relationships/diagramQuickStyle" Target="../diagrams/quickStyle76.xml"/><Relationship Id="rId14" Type="http://schemas.openxmlformats.org/officeDocument/2006/relationships/diagramQuickStyle" Target="../diagrams/quickStyle7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79.xml"/><Relationship Id="rId13" Type="http://schemas.openxmlformats.org/officeDocument/2006/relationships/diagramLayout" Target="../diagrams/layout80.xml"/><Relationship Id="rId18" Type="http://schemas.openxmlformats.org/officeDocument/2006/relationships/diagramLayout" Target="../diagrams/layout81.xml"/><Relationship Id="rId26" Type="http://schemas.microsoft.com/office/2007/relationships/diagramDrawing" Target="../diagrams/drawing82.xml"/><Relationship Id="rId3" Type="http://schemas.openxmlformats.org/officeDocument/2006/relationships/diagramLayout" Target="../diagrams/layout78.xml"/><Relationship Id="rId21" Type="http://schemas.microsoft.com/office/2007/relationships/diagramDrawing" Target="../diagrams/drawing81.xml"/><Relationship Id="rId7" Type="http://schemas.openxmlformats.org/officeDocument/2006/relationships/diagramData" Target="../diagrams/data79.xml"/><Relationship Id="rId12" Type="http://schemas.openxmlformats.org/officeDocument/2006/relationships/diagramData" Target="../diagrams/data80.xml"/><Relationship Id="rId17" Type="http://schemas.openxmlformats.org/officeDocument/2006/relationships/diagramData" Target="../diagrams/data81.xml"/><Relationship Id="rId25" Type="http://schemas.openxmlformats.org/officeDocument/2006/relationships/diagramColors" Target="../diagrams/colors82.xml"/><Relationship Id="rId2" Type="http://schemas.openxmlformats.org/officeDocument/2006/relationships/diagramData" Target="../diagrams/data78.xml"/><Relationship Id="rId16" Type="http://schemas.microsoft.com/office/2007/relationships/diagramDrawing" Target="../diagrams/drawing80.xml"/><Relationship Id="rId20" Type="http://schemas.openxmlformats.org/officeDocument/2006/relationships/diagramColors" Target="../diagrams/colors8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8.xml"/><Relationship Id="rId11" Type="http://schemas.microsoft.com/office/2007/relationships/diagramDrawing" Target="../diagrams/drawing79.xml"/><Relationship Id="rId24" Type="http://schemas.openxmlformats.org/officeDocument/2006/relationships/diagramQuickStyle" Target="../diagrams/quickStyle82.xml"/><Relationship Id="rId5" Type="http://schemas.openxmlformats.org/officeDocument/2006/relationships/diagramColors" Target="../diagrams/colors78.xml"/><Relationship Id="rId15" Type="http://schemas.openxmlformats.org/officeDocument/2006/relationships/diagramColors" Target="../diagrams/colors80.xml"/><Relationship Id="rId23" Type="http://schemas.openxmlformats.org/officeDocument/2006/relationships/diagramLayout" Target="../diagrams/layout82.xml"/><Relationship Id="rId10" Type="http://schemas.openxmlformats.org/officeDocument/2006/relationships/diagramColors" Target="../diagrams/colors79.xml"/><Relationship Id="rId19" Type="http://schemas.openxmlformats.org/officeDocument/2006/relationships/diagramQuickStyle" Target="../diagrams/quickStyle81.xml"/><Relationship Id="rId4" Type="http://schemas.openxmlformats.org/officeDocument/2006/relationships/diagramQuickStyle" Target="../diagrams/quickStyle78.xml"/><Relationship Id="rId9" Type="http://schemas.openxmlformats.org/officeDocument/2006/relationships/diagramQuickStyle" Target="../diagrams/quickStyle79.xml"/><Relationship Id="rId14" Type="http://schemas.openxmlformats.org/officeDocument/2006/relationships/diagramQuickStyle" Target="../diagrams/quickStyle80.xml"/><Relationship Id="rId22" Type="http://schemas.openxmlformats.org/officeDocument/2006/relationships/diagramData" Target="../diagrams/data8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4.xml"/><Relationship Id="rId13" Type="http://schemas.openxmlformats.org/officeDocument/2006/relationships/diagramLayout" Target="../diagrams/layout85.xml"/><Relationship Id="rId18" Type="http://schemas.openxmlformats.org/officeDocument/2006/relationships/diagramLayout" Target="../diagrams/layout86.xml"/><Relationship Id="rId26" Type="http://schemas.microsoft.com/office/2007/relationships/diagramDrawing" Target="../diagrams/drawing87.xml"/><Relationship Id="rId3" Type="http://schemas.openxmlformats.org/officeDocument/2006/relationships/diagramLayout" Target="../diagrams/layout83.xml"/><Relationship Id="rId21" Type="http://schemas.microsoft.com/office/2007/relationships/diagramDrawing" Target="../diagrams/drawing86.xml"/><Relationship Id="rId7" Type="http://schemas.openxmlformats.org/officeDocument/2006/relationships/diagramData" Target="../diagrams/data84.xml"/><Relationship Id="rId12" Type="http://schemas.openxmlformats.org/officeDocument/2006/relationships/diagramData" Target="../diagrams/data85.xml"/><Relationship Id="rId17" Type="http://schemas.openxmlformats.org/officeDocument/2006/relationships/diagramData" Target="../diagrams/data86.xml"/><Relationship Id="rId25" Type="http://schemas.openxmlformats.org/officeDocument/2006/relationships/diagramColors" Target="../diagrams/colors87.xml"/><Relationship Id="rId2" Type="http://schemas.openxmlformats.org/officeDocument/2006/relationships/diagramData" Target="../diagrams/data83.xml"/><Relationship Id="rId16" Type="http://schemas.microsoft.com/office/2007/relationships/diagramDrawing" Target="../diagrams/drawing85.xml"/><Relationship Id="rId20" Type="http://schemas.openxmlformats.org/officeDocument/2006/relationships/diagramColors" Target="../diagrams/colors86.xml"/><Relationship Id="rId29" Type="http://schemas.openxmlformats.org/officeDocument/2006/relationships/diagramQuickStyle" Target="../diagrams/quickStyle88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83.xml"/><Relationship Id="rId11" Type="http://schemas.microsoft.com/office/2007/relationships/diagramDrawing" Target="../diagrams/drawing84.xml"/><Relationship Id="rId24" Type="http://schemas.openxmlformats.org/officeDocument/2006/relationships/diagramQuickStyle" Target="../diagrams/quickStyle87.xml"/><Relationship Id="rId5" Type="http://schemas.openxmlformats.org/officeDocument/2006/relationships/diagramColors" Target="../diagrams/colors83.xml"/><Relationship Id="rId15" Type="http://schemas.openxmlformats.org/officeDocument/2006/relationships/diagramColors" Target="../diagrams/colors85.xml"/><Relationship Id="rId23" Type="http://schemas.openxmlformats.org/officeDocument/2006/relationships/diagramLayout" Target="../diagrams/layout87.xml"/><Relationship Id="rId28" Type="http://schemas.openxmlformats.org/officeDocument/2006/relationships/diagramLayout" Target="../diagrams/layout88.xml"/><Relationship Id="rId10" Type="http://schemas.openxmlformats.org/officeDocument/2006/relationships/diagramColors" Target="../diagrams/colors84.xml"/><Relationship Id="rId19" Type="http://schemas.openxmlformats.org/officeDocument/2006/relationships/diagramQuickStyle" Target="../diagrams/quickStyle86.xml"/><Relationship Id="rId31" Type="http://schemas.microsoft.com/office/2007/relationships/diagramDrawing" Target="../diagrams/drawing88.xml"/><Relationship Id="rId4" Type="http://schemas.openxmlformats.org/officeDocument/2006/relationships/diagramQuickStyle" Target="../diagrams/quickStyle83.xml"/><Relationship Id="rId9" Type="http://schemas.openxmlformats.org/officeDocument/2006/relationships/diagramQuickStyle" Target="../diagrams/quickStyle84.xml"/><Relationship Id="rId14" Type="http://schemas.openxmlformats.org/officeDocument/2006/relationships/diagramQuickStyle" Target="../diagrams/quickStyle85.xml"/><Relationship Id="rId22" Type="http://schemas.openxmlformats.org/officeDocument/2006/relationships/diagramData" Target="../diagrams/data87.xml"/><Relationship Id="rId27" Type="http://schemas.openxmlformats.org/officeDocument/2006/relationships/diagramData" Target="../diagrams/data88.xml"/><Relationship Id="rId30" Type="http://schemas.openxmlformats.org/officeDocument/2006/relationships/diagramColors" Target="../diagrams/colors8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90.xml"/><Relationship Id="rId13" Type="http://schemas.openxmlformats.org/officeDocument/2006/relationships/diagramData" Target="../diagrams/data91.xml"/><Relationship Id="rId3" Type="http://schemas.openxmlformats.org/officeDocument/2006/relationships/diagramData" Target="../diagrams/data89.xml"/><Relationship Id="rId7" Type="http://schemas.microsoft.com/office/2007/relationships/diagramDrawing" Target="../diagrams/drawing89.xml"/><Relationship Id="rId12" Type="http://schemas.microsoft.com/office/2007/relationships/diagramDrawing" Target="../diagrams/drawing90.xml"/><Relationship Id="rId17" Type="http://schemas.microsoft.com/office/2007/relationships/diagramDrawing" Target="../diagrams/drawing91.xml"/><Relationship Id="rId2" Type="http://schemas.openxmlformats.org/officeDocument/2006/relationships/notesSlide" Target="../notesSlides/notesSlide6.xml"/><Relationship Id="rId16" Type="http://schemas.openxmlformats.org/officeDocument/2006/relationships/diagramColors" Target="../diagrams/colors91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89.xml"/><Relationship Id="rId11" Type="http://schemas.openxmlformats.org/officeDocument/2006/relationships/diagramColors" Target="../diagrams/colors90.xml"/><Relationship Id="rId5" Type="http://schemas.openxmlformats.org/officeDocument/2006/relationships/diagramQuickStyle" Target="../diagrams/quickStyle89.xml"/><Relationship Id="rId15" Type="http://schemas.openxmlformats.org/officeDocument/2006/relationships/diagramQuickStyle" Target="../diagrams/quickStyle91.xml"/><Relationship Id="rId10" Type="http://schemas.openxmlformats.org/officeDocument/2006/relationships/diagramQuickStyle" Target="../diagrams/quickStyle90.xml"/><Relationship Id="rId4" Type="http://schemas.openxmlformats.org/officeDocument/2006/relationships/diagramLayout" Target="../diagrams/layout89.xml"/><Relationship Id="rId9" Type="http://schemas.openxmlformats.org/officeDocument/2006/relationships/diagramLayout" Target="../diagrams/layout90.xml"/><Relationship Id="rId14" Type="http://schemas.openxmlformats.org/officeDocument/2006/relationships/diagramLayout" Target="../diagrams/layout9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3.xml"/><Relationship Id="rId13" Type="http://schemas.openxmlformats.org/officeDocument/2006/relationships/diagramLayout" Target="../diagrams/layout94.xml"/><Relationship Id="rId3" Type="http://schemas.openxmlformats.org/officeDocument/2006/relationships/diagramLayout" Target="../diagrams/layout92.xml"/><Relationship Id="rId7" Type="http://schemas.openxmlformats.org/officeDocument/2006/relationships/diagramData" Target="../diagrams/data93.xml"/><Relationship Id="rId12" Type="http://schemas.openxmlformats.org/officeDocument/2006/relationships/diagramData" Target="../diagrams/data94.xml"/><Relationship Id="rId2" Type="http://schemas.openxmlformats.org/officeDocument/2006/relationships/diagramData" Target="../diagrams/data92.xml"/><Relationship Id="rId16" Type="http://schemas.microsoft.com/office/2007/relationships/diagramDrawing" Target="../diagrams/drawing9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92.xml"/><Relationship Id="rId11" Type="http://schemas.microsoft.com/office/2007/relationships/diagramDrawing" Target="../diagrams/drawing93.xml"/><Relationship Id="rId5" Type="http://schemas.openxmlformats.org/officeDocument/2006/relationships/diagramColors" Target="../diagrams/colors92.xml"/><Relationship Id="rId15" Type="http://schemas.openxmlformats.org/officeDocument/2006/relationships/diagramColors" Target="../diagrams/colors94.xml"/><Relationship Id="rId10" Type="http://schemas.openxmlformats.org/officeDocument/2006/relationships/diagramColors" Target="../diagrams/colors93.xml"/><Relationship Id="rId4" Type="http://schemas.openxmlformats.org/officeDocument/2006/relationships/diagramQuickStyle" Target="../diagrams/quickStyle92.xml"/><Relationship Id="rId9" Type="http://schemas.openxmlformats.org/officeDocument/2006/relationships/diagramQuickStyle" Target="../diagrams/quickStyle93.xml"/><Relationship Id="rId14" Type="http://schemas.openxmlformats.org/officeDocument/2006/relationships/diagramQuickStyle" Target="../diagrams/quickStyle9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96.xml"/><Relationship Id="rId13" Type="http://schemas.openxmlformats.org/officeDocument/2006/relationships/diagramLayout" Target="../diagrams/layout97.xml"/><Relationship Id="rId18" Type="http://schemas.openxmlformats.org/officeDocument/2006/relationships/diagramLayout" Target="../diagrams/layout98.xml"/><Relationship Id="rId3" Type="http://schemas.openxmlformats.org/officeDocument/2006/relationships/diagramLayout" Target="../diagrams/layout95.xml"/><Relationship Id="rId21" Type="http://schemas.microsoft.com/office/2007/relationships/diagramDrawing" Target="../diagrams/drawing98.xml"/><Relationship Id="rId7" Type="http://schemas.openxmlformats.org/officeDocument/2006/relationships/diagramData" Target="../diagrams/data96.xml"/><Relationship Id="rId12" Type="http://schemas.openxmlformats.org/officeDocument/2006/relationships/diagramData" Target="../diagrams/data97.xml"/><Relationship Id="rId17" Type="http://schemas.openxmlformats.org/officeDocument/2006/relationships/diagramData" Target="../diagrams/data98.xml"/><Relationship Id="rId2" Type="http://schemas.openxmlformats.org/officeDocument/2006/relationships/diagramData" Target="../diagrams/data95.xml"/><Relationship Id="rId16" Type="http://schemas.microsoft.com/office/2007/relationships/diagramDrawing" Target="../diagrams/drawing97.xml"/><Relationship Id="rId20" Type="http://schemas.openxmlformats.org/officeDocument/2006/relationships/diagramColors" Target="../diagrams/colors98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95.xml"/><Relationship Id="rId11" Type="http://schemas.microsoft.com/office/2007/relationships/diagramDrawing" Target="../diagrams/drawing96.xml"/><Relationship Id="rId5" Type="http://schemas.openxmlformats.org/officeDocument/2006/relationships/diagramColors" Target="../diagrams/colors95.xml"/><Relationship Id="rId15" Type="http://schemas.openxmlformats.org/officeDocument/2006/relationships/diagramColors" Target="../diagrams/colors97.xml"/><Relationship Id="rId10" Type="http://schemas.openxmlformats.org/officeDocument/2006/relationships/diagramColors" Target="../diagrams/colors96.xml"/><Relationship Id="rId19" Type="http://schemas.openxmlformats.org/officeDocument/2006/relationships/diagramQuickStyle" Target="../diagrams/quickStyle98.xml"/><Relationship Id="rId4" Type="http://schemas.openxmlformats.org/officeDocument/2006/relationships/diagramQuickStyle" Target="../diagrams/quickStyle95.xml"/><Relationship Id="rId9" Type="http://schemas.openxmlformats.org/officeDocument/2006/relationships/diagramQuickStyle" Target="../diagrams/quickStyle96.xml"/><Relationship Id="rId14" Type="http://schemas.openxmlformats.org/officeDocument/2006/relationships/diagramQuickStyle" Target="../diagrams/quickStyle9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0.xml"/><Relationship Id="rId13" Type="http://schemas.openxmlformats.org/officeDocument/2006/relationships/diagramLayout" Target="../diagrams/layout101.xml"/><Relationship Id="rId18" Type="http://schemas.openxmlformats.org/officeDocument/2006/relationships/diagramLayout" Target="../diagrams/layout102.xml"/><Relationship Id="rId3" Type="http://schemas.openxmlformats.org/officeDocument/2006/relationships/diagramLayout" Target="../diagrams/layout99.xml"/><Relationship Id="rId21" Type="http://schemas.microsoft.com/office/2007/relationships/diagramDrawing" Target="../diagrams/drawing102.xml"/><Relationship Id="rId7" Type="http://schemas.openxmlformats.org/officeDocument/2006/relationships/diagramData" Target="../diagrams/data100.xml"/><Relationship Id="rId12" Type="http://schemas.openxmlformats.org/officeDocument/2006/relationships/diagramData" Target="../diagrams/data101.xml"/><Relationship Id="rId17" Type="http://schemas.openxmlformats.org/officeDocument/2006/relationships/diagramData" Target="../diagrams/data102.xml"/><Relationship Id="rId2" Type="http://schemas.openxmlformats.org/officeDocument/2006/relationships/diagramData" Target="../diagrams/data99.xml"/><Relationship Id="rId16" Type="http://schemas.microsoft.com/office/2007/relationships/diagramDrawing" Target="../diagrams/drawing101.xml"/><Relationship Id="rId20" Type="http://schemas.openxmlformats.org/officeDocument/2006/relationships/diagramColors" Target="../diagrams/colors10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99.xml"/><Relationship Id="rId11" Type="http://schemas.microsoft.com/office/2007/relationships/diagramDrawing" Target="../diagrams/drawing100.xml"/><Relationship Id="rId5" Type="http://schemas.openxmlformats.org/officeDocument/2006/relationships/diagramColors" Target="../diagrams/colors99.xml"/><Relationship Id="rId15" Type="http://schemas.openxmlformats.org/officeDocument/2006/relationships/diagramColors" Target="../diagrams/colors101.xml"/><Relationship Id="rId10" Type="http://schemas.openxmlformats.org/officeDocument/2006/relationships/diagramColors" Target="../diagrams/colors100.xml"/><Relationship Id="rId19" Type="http://schemas.openxmlformats.org/officeDocument/2006/relationships/diagramQuickStyle" Target="../diagrams/quickStyle102.xml"/><Relationship Id="rId4" Type="http://schemas.openxmlformats.org/officeDocument/2006/relationships/diagramQuickStyle" Target="../diagrams/quickStyle99.xml"/><Relationship Id="rId9" Type="http://schemas.openxmlformats.org/officeDocument/2006/relationships/diagramQuickStyle" Target="../diagrams/quickStyle100.xml"/><Relationship Id="rId14" Type="http://schemas.openxmlformats.org/officeDocument/2006/relationships/diagramQuickStyle" Target="../diagrams/quickStyle10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3.xml"/><Relationship Id="rId7" Type="http://schemas.microsoft.com/office/2007/relationships/diagramDrawing" Target="../diagrams/drawing10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03.xml"/><Relationship Id="rId5" Type="http://schemas.openxmlformats.org/officeDocument/2006/relationships/diagramQuickStyle" Target="../diagrams/quickStyle103.xml"/><Relationship Id="rId4" Type="http://schemas.openxmlformats.org/officeDocument/2006/relationships/diagramLayout" Target="../diagrams/layout10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4.xml"/><Relationship Id="rId7" Type="http://schemas.microsoft.com/office/2007/relationships/diagramDrawing" Target="../diagrams/drawing10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04.xml"/><Relationship Id="rId5" Type="http://schemas.openxmlformats.org/officeDocument/2006/relationships/diagramQuickStyle" Target="../diagrams/quickStyle104.xml"/><Relationship Id="rId4" Type="http://schemas.openxmlformats.org/officeDocument/2006/relationships/diagramLayout" Target="../diagrams/layout10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hyperlink" Target="mailto:strategia.innovazione@regione.sicilia.it" TargetMode="External"/><Relationship Id="rId2" Type="http://schemas.openxmlformats.org/officeDocument/2006/relationships/hyperlink" Target="http://www.innovatoripa.it/" TargetMode="Externa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13" Type="http://schemas.openxmlformats.org/officeDocument/2006/relationships/diagramLayout" Target="../diagrams/layout9.xml"/><Relationship Id="rId18" Type="http://schemas.openxmlformats.org/officeDocument/2006/relationships/diagramLayout" Target="../diagrams/layout10.xml"/><Relationship Id="rId3" Type="http://schemas.openxmlformats.org/officeDocument/2006/relationships/diagramLayout" Target="../diagrams/layout7.xml"/><Relationship Id="rId21" Type="http://schemas.microsoft.com/office/2007/relationships/diagramDrawing" Target="../diagrams/drawing10.xml"/><Relationship Id="rId7" Type="http://schemas.openxmlformats.org/officeDocument/2006/relationships/diagramData" Target="../diagrams/data8.xml"/><Relationship Id="rId12" Type="http://schemas.openxmlformats.org/officeDocument/2006/relationships/diagramData" Target="../diagrams/data9.xml"/><Relationship Id="rId17" Type="http://schemas.openxmlformats.org/officeDocument/2006/relationships/diagramData" Target="../diagrams/data10.xml"/><Relationship Id="rId2" Type="http://schemas.openxmlformats.org/officeDocument/2006/relationships/diagramData" Target="../diagrams/data7.xml"/><Relationship Id="rId16" Type="http://schemas.microsoft.com/office/2007/relationships/diagramDrawing" Target="../diagrams/drawing9.xml"/><Relationship Id="rId20" Type="http://schemas.openxmlformats.org/officeDocument/2006/relationships/diagramColors" Target="../diagrams/colors10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5" Type="http://schemas.openxmlformats.org/officeDocument/2006/relationships/diagramColors" Target="../diagrams/colors9.xml"/><Relationship Id="rId10" Type="http://schemas.openxmlformats.org/officeDocument/2006/relationships/diagramColors" Target="../diagrams/colors8.xml"/><Relationship Id="rId19" Type="http://schemas.openxmlformats.org/officeDocument/2006/relationships/diagramQuickStyle" Target="../diagrams/quickStyle10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Relationship Id="rId14" Type="http://schemas.openxmlformats.org/officeDocument/2006/relationships/diagramQuickStyle" Target="../diagrams/quickStyle9.xml"/><Relationship Id="rId22" Type="http://schemas.openxmlformats.org/officeDocument/2006/relationships/image" Target="../media/image10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3" Type="http://schemas.openxmlformats.org/officeDocument/2006/relationships/diagramLayout" Target="../diagrams/layout11.xml"/><Relationship Id="rId7" Type="http://schemas.openxmlformats.org/officeDocument/2006/relationships/diagramData" Target="../diagrams/data12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1.xml"/><Relationship Id="rId11" Type="http://schemas.microsoft.com/office/2007/relationships/diagramDrawing" Target="../diagrams/drawing12.xml"/><Relationship Id="rId5" Type="http://schemas.openxmlformats.org/officeDocument/2006/relationships/diagramColors" Target="../diagrams/colors11.xml"/><Relationship Id="rId10" Type="http://schemas.openxmlformats.org/officeDocument/2006/relationships/diagramColors" Target="../diagrams/colors12.xml"/><Relationship Id="rId4" Type="http://schemas.openxmlformats.org/officeDocument/2006/relationships/diagramQuickStyle" Target="../diagrams/quickStyle11.xml"/><Relationship Id="rId9" Type="http://schemas.openxmlformats.org/officeDocument/2006/relationships/diagramQuickStyle" Target="../diagrams/quickStyle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diagramLayout" Target="../diagrams/layout13.xml"/><Relationship Id="rId7" Type="http://schemas.openxmlformats.org/officeDocument/2006/relationships/diagramData" Target="../diagrams/data14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3.xml"/><Relationship Id="rId11" Type="http://schemas.microsoft.com/office/2007/relationships/diagramDrawing" Target="../diagrams/drawing14.xml"/><Relationship Id="rId5" Type="http://schemas.openxmlformats.org/officeDocument/2006/relationships/diagramColors" Target="../diagrams/colors13.xml"/><Relationship Id="rId10" Type="http://schemas.openxmlformats.org/officeDocument/2006/relationships/diagramColors" Target="../diagrams/colors14.xml"/><Relationship Id="rId4" Type="http://schemas.openxmlformats.org/officeDocument/2006/relationships/diagramQuickStyle" Target="../diagrams/quickStyle13.xml"/><Relationship Id="rId9" Type="http://schemas.openxmlformats.org/officeDocument/2006/relationships/diagramQuickStyle" Target="../diagrams/quickStyle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6.xml"/><Relationship Id="rId3" Type="http://schemas.openxmlformats.org/officeDocument/2006/relationships/diagramLayout" Target="../diagrams/layout15.xml"/><Relationship Id="rId7" Type="http://schemas.openxmlformats.org/officeDocument/2006/relationships/diagramData" Target="../diagrams/data16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5.xml"/><Relationship Id="rId11" Type="http://schemas.microsoft.com/office/2007/relationships/diagramDrawing" Target="../diagrams/drawing16.xml"/><Relationship Id="rId5" Type="http://schemas.openxmlformats.org/officeDocument/2006/relationships/diagramColors" Target="../diagrams/colors15.xml"/><Relationship Id="rId10" Type="http://schemas.openxmlformats.org/officeDocument/2006/relationships/diagramColors" Target="../diagrams/colors16.xml"/><Relationship Id="rId4" Type="http://schemas.openxmlformats.org/officeDocument/2006/relationships/diagramQuickStyle" Target="../diagrams/quickStyle15.xml"/><Relationship Id="rId9" Type="http://schemas.openxmlformats.org/officeDocument/2006/relationships/diagramQuickStyle" Target="../diagrams/quickStyle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69" name="Object 19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07995" y="1131654"/>
            <a:ext cx="8724900" cy="73866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lang="it-IT" altLang="it-IT" sz="2400" b="1" dirty="0">
                <a:solidFill>
                  <a:srgbClr val="0B538F"/>
                </a:solidFill>
                <a:latin typeface="Neo Sans Std Medium" pitchFamily="34" charset="0"/>
              </a:rPr>
              <a:t>TAVOLO TEMATICO </a:t>
            </a:r>
            <a:endParaRPr lang="it-IT" altLang="it-IT" sz="2400" b="1" dirty="0" smtClean="0">
              <a:solidFill>
                <a:srgbClr val="0B538F"/>
              </a:solidFill>
              <a:latin typeface="Neo Sans Std Medium" pitchFamily="34" charset="0"/>
            </a:endParaRPr>
          </a:p>
          <a:p>
            <a:pPr algn="ctr">
              <a:defRPr/>
            </a:pPr>
            <a:r>
              <a:rPr lang="it-IT" altLang="it-IT" sz="2400" b="1" dirty="0" smtClean="0">
                <a:solidFill>
                  <a:srgbClr val="0B538F"/>
                </a:solidFill>
                <a:latin typeface="Neo Sans Std Medium" pitchFamily="34" charset="0"/>
              </a:rPr>
              <a:t>ECONOMIA DEL MARE</a:t>
            </a:r>
            <a:endParaRPr lang="en-US" sz="2400" b="1" dirty="0">
              <a:solidFill>
                <a:srgbClr val="0B538F"/>
              </a:solidFill>
              <a:latin typeface="Neo Sans Std Medium" pitchFamily="34" charset="0"/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4662855" y="-1183716"/>
            <a:ext cx="0" cy="6345115"/>
          </a:xfrm>
          <a:prstGeom prst="line">
            <a:avLst/>
          </a:prstGeom>
          <a:ln w="3175">
            <a:solidFill>
              <a:schemeClr val="bg1">
                <a:lumMod val="75000"/>
                <a:alpha val="48000"/>
              </a:schemeClr>
            </a:solidFill>
          </a:ln>
          <a:effectLst>
            <a:outerShdw blurRad="38100" algn="ctr" rotWithShape="0">
              <a:schemeClr val="tx1">
                <a:alpha val="44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72" name="Immagine 38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615837" y="2171855"/>
            <a:ext cx="2094035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3" name="Rettangolo 5"/>
          <p:cNvSpPr>
            <a:spLocks noChangeArrowheads="1"/>
          </p:cNvSpPr>
          <p:nvPr/>
        </p:nvSpPr>
        <p:spPr bwMode="auto">
          <a:xfrm>
            <a:off x="548054" y="3839562"/>
            <a:ext cx="770938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it-IT" sz="1600" b="1" dirty="0" smtClean="0">
                <a:solidFill>
                  <a:srgbClr val="0B538F"/>
                </a:solidFill>
                <a:latin typeface="Neo Sans Std Medium"/>
              </a:rPr>
              <a:t>Agenda dei Lavori</a:t>
            </a:r>
            <a:endParaRPr lang="it-IT" sz="1600" b="1" dirty="0">
              <a:solidFill>
                <a:srgbClr val="0B538F"/>
              </a:solidFill>
              <a:latin typeface="Neo Sans Std Medium"/>
            </a:endParaRPr>
          </a:p>
        </p:txBody>
      </p:sp>
      <p:sp>
        <p:nvSpPr>
          <p:cNvPr id="3274" name="CasellaDiTesto 6"/>
          <p:cNvSpPr txBox="1">
            <a:spLocks noChangeArrowheads="1"/>
          </p:cNvSpPr>
          <p:nvPr/>
        </p:nvSpPr>
        <p:spPr bwMode="auto">
          <a:xfrm>
            <a:off x="1954823" y="4868863"/>
            <a:ext cx="4895850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it-IT" sz="800" b="1" dirty="0">
              <a:solidFill>
                <a:srgbClr val="0B538F"/>
              </a:solidFill>
              <a:latin typeface="Neo Sans Std Medium"/>
            </a:endParaRPr>
          </a:p>
          <a:p>
            <a:pPr algn="ctr"/>
            <a:r>
              <a:rPr lang="it-IT" sz="1200" b="1" dirty="0" smtClean="0">
                <a:solidFill>
                  <a:srgbClr val="0B538F"/>
                </a:solidFill>
                <a:latin typeface="Neo Sans Std Medium"/>
              </a:rPr>
              <a:t>Gruppo </a:t>
            </a:r>
            <a:r>
              <a:rPr lang="it-IT" sz="1200" b="1" dirty="0">
                <a:solidFill>
                  <a:srgbClr val="0B538F"/>
                </a:solidFill>
                <a:latin typeface="Neo Sans Std Medium"/>
              </a:rPr>
              <a:t>di Lavoro Interdipartimentale per la RIS 3 Sicilia</a:t>
            </a:r>
          </a:p>
          <a:p>
            <a:pPr algn="ctr"/>
            <a:r>
              <a:rPr lang="it-IT" sz="1200" b="1" dirty="0">
                <a:solidFill>
                  <a:srgbClr val="0B538F"/>
                </a:solidFill>
                <a:latin typeface="Neo Sans Std Medium"/>
              </a:rPr>
              <a:t>Palermo, </a:t>
            </a:r>
            <a:r>
              <a:rPr lang="it-IT" sz="1200" b="1" dirty="0" smtClean="0">
                <a:solidFill>
                  <a:srgbClr val="0B538F"/>
                </a:solidFill>
                <a:latin typeface="Neo Sans Std Medium"/>
              </a:rPr>
              <a:t>8 Maggio 2014</a:t>
            </a:r>
            <a:endParaRPr lang="it-IT" sz="1200" dirty="0">
              <a:solidFill>
                <a:srgbClr val="0B538F"/>
              </a:solidFill>
              <a:latin typeface="Neo Sans Std Medium"/>
            </a:endParaRPr>
          </a:p>
          <a:p>
            <a:pPr algn="ctr"/>
            <a:endParaRPr lang="it-IT" sz="1200" dirty="0" smtClean="0">
              <a:solidFill>
                <a:srgbClr val="0B538F"/>
              </a:solidFill>
              <a:latin typeface="Neo Sans Std Medium"/>
            </a:endParaRPr>
          </a:p>
          <a:p>
            <a:pPr algn="ctr"/>
            <a:endParaRPr lang="it-IT" sz="1200" dirty="0" smtClean="0">
              <a:solidFill>
                <a:srgbClr val="0B538F"/>
              </a:solidFill>
              <a:latin typeface="Neo Sans Std Medium"/>
            </a:endParaRPr>
          </a:p>
          <a:p>
            <a:pPr algn="ctr"/>
            <a:r>
              <a:rPr lang="it-IT" sz="1200" dirty="0" smtClean="0">
                <a:solidFill>
                  <a:srgbClr val="0B538F"/>
                </a:solidFill>
                <a:latin typeface="Neo Sans Std Medium"/>
              </a:rPr>
              <a:t>Consorzio ARCA</a:t>
            </a:r>
          </a:p>
          <a:p>
            <a:pPr algn="ctr"/>
            <a:r>
              <a:rPr lang="it-IT" sz="1200" dirty="0" smtClean="0">
                <a:solidFill>
                  <a:srgbClr val="0B538F"/>
                </a:solidFill>
                <a:latin typeface="Neo Sans Std Medium"/>
              </a:rPr>
              <a:t>Edificio 16, viale delle Scienze</a:t>
            </a:r>
            <a:endParaRPr lang="it-IT" sz="1200" b="1" dirty="0">
              <a:solidFill>
                <a:srgbClr val="0B538F"/>
              </a:solidFill>
              <a:latin typeface="Neo Sans Std Medium"/>
            </a:endParaRPr>
          </a:p>
        </p:txBody>
      </p:sp>
    </p:spTree>
    <p:extLst>
      <p:ext uri="{BB962C8B-B14F-4D97-AF65-F5344CB8AC3E}">
        <p14:creationId xmlns:p14="http://schemas.microsoft.com/office/powerpoint/2010/main" val="353549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2486956"/>
              </p:ext>
            </p:extLst>
          </p:nvPr>
        </p:nvGraphicFramePr>
        <p:xfrm>
          <a:off x="1187624" y="2204864"/>
          <a:ext cx="7200800" cy="3168838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45072"/>
                <a:gridCol w="974975"/>
                <a:gridCol w="5180753"/>
              </a:tblGrid>
              <a:tr h="3665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:2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:3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li ambiti di specializzazione</a:t>
                      </a: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3" gridSpan="2">
                  <a:txBody>
                    <a:bodyPr/>
                    <a:lstStyle/>
                    <a:p>
                      <a:pPr algn="ctr" fontAlgn="t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e Siciliana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SE-MIUR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VVIP</a:t>
                      </a:r>
                    </a:p>
                    <a:p>
                      <a:pPr algn="ctr" fontAlgn="t"/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MEZ PA</a:t>
                      </a:r>
                    </a:p>
                  </a:txBody>
                  <a:tcPr marL="9525" marR="9525" marT="9525" marB="0"/>
                </a:tc>
                <a:tc rowSpan="3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mitazione </a:t>
                      </a:r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bito tematico </a:t>
                      </a:r>
                      <a:endParaRPr lang="it-IT" sz="1400" b="1" u="none" strike="noStrike" kern="1200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siti del tavoli </a:t>
                      </a:r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zionali</a:t>
                      </a: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o dell'arte e ambiti di approfondimento dell'ambito:</a:t>
                      </a:r>
                      <a:b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produttivo</a:t>
                      </a: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stema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oscenze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dicazioni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rità</a:t>
                      </a: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o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ET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olo dell'innovazione sociale </a:t>
                      </a:r>
                      <a:endParaRPr lang="it-IT" sz="1400" b="1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just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tersezione </a:t>
                      </a:r>
                      <a:r>
                        <a:rPr lang="it-IT" sz="1400" b="1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 altri ambiti tecnologici e </a:t>
                      </a:r>
                      <a:r>
                        <a:rPr lang="it-IT" sz="1400" b="1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duttivi</a:t>
                      </a:r>
                    </a:p>
                    <a:p>
                      <a:pPr marL="0" algn="just" defTabSz="914400" rtl="0" eaLnBrk="1" fontAlgn="b" latinLnBrk="0" hangingPunct="1"/>
                      <a:endParaRPr lang="it-IT" sz="14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1259632" y="1844824"/>
          <a:ext cx="7128792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5081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131170"/>
            <a:ext cx="2057400" cy="3370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fld id="{7F82A082-D13F-44DA-8257-855D720B2527}" type="slidenum">
              <a:rPr lang="en-US"/>
              <a:pPr/>
              <a:t>11</a:t>
            </a:fld>
            <a:r>
              <a:rPr lang="en-US"/>
              <a:t>|</a:t>
            </a:r>
          </a:p>
        </p:txBody>
      </p:sp>
      <p:grpSp>
        <p:nvGrpSpPr>
          <p:cNvPr id="32770" name="Gruppo 9"/>
          <p:cNvGrpSpPr>
            <a:grpSpLocks/>
          </p:cNvGrpSpPr>
          <p:nvPr/>
        </p:nvGrpSpPr>
        <p:grpSpPr bwMode="auto">
          <a:xfrm>
            <a:off x="2757854" y="1238250"/>
            <a:ext cx="5930412" cy="5035062"/>
            <a:chOff x="2088859" y="836713"/>
            <a:chExt cx="6392531" cy="5453162"/>
          </a:xfrm>
        </p:grpSpPr>
        <p:graphicFrame>
          <p:nvGraphicFramePr>
            <p:cNvPr id="48" name="Diagramma 47"/>
            <p:cNvGraphicFramePr/>
            <p:nvPr/>
          </p:nvGraphicFramePr>
          <p:xfrm>
            <a:off x="3951012" y="2432634"/>
            <a:ext cx="2519154" cy="223179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32784" name="Group 1"/>
            <p:cNvGrpSpPr>
              <a:grpSpLocks/>
            </p:cNvGrpSpPr>
            <p:nvPr/>
          </p:nvGrpSpPr>
          <p:grpSpPr bwMode="auto">
            <a:xfrm>
              <a:off x="2088859" y="836713"/>
              <a:ext cx="6392531" cy="5453162"/>
              <a:chOff x="1616075" y="669925"/>
              <a:chExt cx="6077711" cy="5515510"/>
            </a:xfrm>
          </p:grpSpPr>
          <p:sp>
            <p:nvSpPr>
              <p:cNvPr id="50" name="Krans 44"/>
              <p:cNvSpPr>
                <a:spLocks noChangeArrowheads="1"/>
              </p:cNvSpPr>
              <p:nvPr/>
            </p:nvSpPr>
            <p:spPr bwMode="auto">
              <a:xfrm>
                <a:off x="3005224" y="1801599"/>
                <a:ext cx="3171763" cy="3168689"/>
              </a:xfrm>
              <a:custGeom>
                <a:avLst/>
                <a:gdLst>
                  <a:gd name="T0" fmla="*/ 1585913 w 3171825"/>
                  <a:gd name="T1" fmla="*/ 0 h 3170238"/>
                  <a:gd name="T2" fmla="*/ 464503 w 3171825"/>
                  <a:gd name="T3" fmla="*/ 464270 h 3170238"/>
                  <a:gd name="T4" fmla="*/ 0 w 3171825"/>
                  <a:gd name="T5" fmla="*/ 1585119 h 3170238"/>
                  <a:gd name="T6" fmla="*/ 464503 w 3171825"/>
                  <a:gd name="T7" fmla="*/ 2705968 h 3170238"/>
                  <a:gd name="T8" fmla="*/ 1585913 w 3171825"/>
                  <a:gd name="T9" fmla="*/ 3170238 h 3170238"/>
                  <a:gd name="T10" fmla="*/ 2707322 w 3171825"/>
                  <a:gd name="T11" fmla="*/ 2705968 h 3170238"/>
                  <a:gd name="T12" fmla="*/ 3171825 w 3171825"/>
                  <a:gd name="T13" fmla="*/ 1585119 h 3170238"/>
                  <a:gd name="T14" fmla="*/ 2707322 w 3171825"/>
                  <a:gd name="T15" fmla="*/ 464270 h 3170238"/>
                  <a:gd name="T16" fmla="*/ 17694720 60000 65536"/>
                  <a:gd name="T17" fmla="*/ 17694720 60000 65536"/>
                  <a:gd name="T18" fmla="*/ 11796480 60000 65536"/>
                  <a:gd name="T19" fmla="*/ 5898240 60000 65536"/>
                  <a:gd name="T20" fmla="*/ 5898240 60000 65536"/>
                  <a:gd name="T21" fmla="*/ 5898240 60000 65536"/>
                  <a:gd name="T22" fmla="*/ 0 60000 65536"/>
                  <a:gd name="T23" fmla="*/ 17694720 60000 65536"/>
                  <a:gd name="T24" fmla="*/ 464503 w 3171825"/>
                  <a:gd name="T25" fmla="*/ 464270 h 3170238"/>
                  <a:gd name="T26" fmla="*/ 2707322 w 3171825"/>
                  <a:gd name="T27" fmla="*/ 2705968 h 31702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171825" h="3170238">
                    <a:moveTo>
                      <a:pt x="0" y="1585119"/>
                    </a:moveTo>
                    <a:lnTo>
                      <a:pt x="0" y="1585119"/>
                    </a:lnTo>
                    <a:cubicBezTo>
                      <a:pt x="1" y="709682"/>
                      <a:pt x="710038" y="1"/>
                      <a:pt x="1585913" y="1"/>
                    </a:cubicBezTo>
                    <a:cubicBezTo>
                      <a:pt x="1585914" y="1"/>
                      <a:pt x="1585914" y="2"/>
                      <a:pt x="1585915" y="2"/>
                    </a:cubicBezTo>
                    <a:cubicBezTo>
                      <a:pt x="2461790" y="3"/>
                      <a:pt x="3171827" y="709684"/>
                      <a:pt x="3171827" y="1585121"/>
                    </a:cubicBezTo>
                    <a:cubicBezTo>
                      <a:pt x="3171827" y="1585121"/>
                      <a:pt x="3171826" y="1585122"/>
                      <a:pt x="3171826" y="1585123"/>
                    </a:cubicBezTo>
                    <a:lnTo>
                      <a:pt x="3171827" y="1585124"/>
                    </a:lnTo>
                    <a:cubicBezTo>
                      <a:pt x="3171827" y="2460561"/>
                      <a:pt x="2461789" y="3170243"/>
                      <a:pt x="1585914" y="3170243"/>
                    </a:cubicBezTo>
                    <a:cubicBezTo>
                      <a:pt x="1585913" y="3170242"/>
                      <a:pt x="1585913" y="3170242"/>
                      <a:pt x="1585913" y="3170242"/>
                    </a:cubicBezTo>
                    <a:cubicBezTo>
                      <a:pt x="710037" y="3170242"/>
                      <a:pt x="1" y="2460560"/>
                      <a:pt x="1" y="1585124"/>
                    </a:cubicBezTo>
                    <a:cubicBezTo>
                      <a:pt x="1" y="1585123"/>
                      <a:pt x="1" y="1585122"/>
                      <a:pt x="1" y="1585122"/>
                    </a:cubicBezTo>
                    <a:close/>
                    <a:moveTo>
                      <a:pt x="529810" y="1585119"/>
                    </a:moveTo>
                    <a:lnTo>
                      <a:pt x="529810" y="1585119"/>
                    </a:lnTo>
                    <a:cubicBezTo>
                      <a:pt x="529810" y="1585119"/>
                      <a:pt x="529809" y="1585119"/>
                      <a:pt x="529809" y="1585119"/>
                    </a:cubicBezTo>
                    <a:cubicBezTo>
                      <a:pt x="529809" y="2167950"/>
                      <a:pt x="1002642" y="2640428"/>
                      <a:pt x="1585910" y="2640428"/>
                    </a:cubicBezTo>
                    <a:lnTo>
                      <a:pt x="1585911" y="2640428"/>
                    </a:lnTo>
                    <a:cubicBezTo>
                      <a:pt x="1585911" y="2640428"/>
                      <a:pt x="1585911" y="2640428"/>
                      <a:pt x="1585912" y="2640428"/>
                    </a:cubicBezTo>
                    <a:cubicBezTo>
                      <a:pt x="2169180" y="2640428"/>
                      <a:pt x="2642013" y="2167951"/>
                      <a:pt x="2642013" y="1585120"/>
                    </a:cubicBezTo>
                    <a:lnTo>
                      <a:pt x="2642014" y="1585121"/>
                    </a:lnTo>
                    <a:cubicBezTo>
                      <a:pt x="2642014" y="1002289"/>
                      <a:pt x="2169181" y="529812"/>
                      <a:pt x="1585912" y="529812"/>
                    </a:cubicBezTo>
                    <a:lnTo>
                      <a:pt x="1585911" y="529812"/>
                    </a:lnTo>
                    <a:cubicBezTo>
                      <a:pt x="1585911" y="529812"/>
                      <a:pt x="1585911" y="529811"/>
                      <a:pt x="1585911" y="529811"/>
                    </a:cubicBezTo>
                    <a:cubicBezTo>
                      <a:pt x="1002642" y="529811"/>
                      <a:pt x="529809" y="1002289"/>
                      <a:pt x="529809" y="1585120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E6E6E6"/>
                  </a:gs>
                  <a:gs pos="100000">
                    <a:srgbClr val="FFFFFF"/>
                  </a:gs>
                </a:gsLst>
                <a:lin ang="16200000"/>
              </a:gradFill>
              <a:ln w="12700">
                <a:solidFill>
                  <a:srgbClr val="BFBFBF"/>
                </a:solidFill>
                <a:miter lim="800000"/>
                <a:headEnd/>
                <a:tailEnd/>
              </a:ln>
              <a:effectLst>
                <a:outerShdw blurRad="63500" dist="38100" dir="2700000" algn="tl" rotWithShape="0">
                  <a:srgbClr val="000000">
                    <a:alpha val="39999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015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52" name="Rektangulær billedforklaring 50"/>
              <p:cNvSpPr>
                <a:spLocks noChangeArrowheads="1"/>
              </p:cNvSpPr>
              <p:nvPr/>
            </p:nvSpPr>
            <p:spPr bwMode="auto">
              <a:xfrm>
                <a:off x="5100209" y="840078"/>
                <a:ext cx="1195418" cy="889288"/>
              </a:xfrm>
              <a:prstGeom prst="wedgeRectCallout">
                <a:avLst>
                  <a:gd name="adj1" fmla="val -29778"/>
                  <a:gd name="adj2" fmla="val 68806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87" name="Rektangel 51"/>
              <p:cNvSpPr>
                <a:spLocks noChangeArrowheads="1"/>
              </p:cNvSpPr>
              <p:nvPr/>
            </p:nvSpPr>
            <p:spPr bwMode="auto">
              <a:xfrm>
                <a:off x="5026328" y="911092"/>
                <a:ext cx="1206500" cy="7981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Marz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Analisi di contesto</a:t>
                </a:r>
              </a:p>
            </p:txBody>
          </p:sp>
          <p:sp>
            <p:nvSpPr>
              <p:cNvPr id="56" name="Rektangulær billedforklaring 52"/>
              <p:cNvSpPr>
                <a:spLocks noChangeArrowheads="1"/>
              </p:cNvSpPr>
              <p:nvPr/>
            </p:nvSpPr>
            <p:spPr bwMode="auto">
              <a:xfrm>
                <a:off x="6213029" y="1251012"/>
                <a:ext cx="1282522" cy="1081913"/>
              </a:xfrm>
              <a:prstGeom prst="wedgeRectCallout">
                <a:avLst>
                  <a:gd name="adj1" fmla="val -91509"/>
                  <a:gd name="adj2" fmla="val 49977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89" name="Rektangel 53"/>
              <p:cNvSpPr>
                <a:spLocks noChangeArrowheads="1"/>
              </p:cNvSpPr>
              <p:nvPr/>
            </p:nvSpPr>
            <p:spPr bwMode="auto">
              <a:xfrm>
                <a:off x="6271824" y="1292096"/>
                <a:ext cx="1359997" cy="15386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Aprile’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Individuazione Principi guida  cambiamento</a:t>
                </a:r>
              </a:p>
              <a:p>
                <a:pPr defTabSz="740038">
                  <a:spcBef>
                    <a:spcPct val="20000"/>
                  </a:spcBef>
                </a:pPr>
                <a:endParaRPr lang="it-IT" sz="1292" b="1" noProof="1">
                  <a:solidFill>
                    <a:srgbClr val="080808"/>
                  </a:solidFill>
                  <a:latin typeface="Calibri" pitchFamily="34" charset="0"/>
                  <a:cs typeface="Arial" charset="0"/>
                </a:endParaRPr>
              </a:p>
              <a:p>
                <a:pPr defTabSz="740038">
                  <a:spcBef>
                    <a:spcPct val="20000"/>
                  </a:spcBef>
                </a:pPr>
                <a:endParaRPr lang="it-IT" sz="1292" b="1" noProof="1">
                  <a:solidFill>
                    <a:srgbClr val="080808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58" name="Rektangulær billedforklaring 54"/>
              <p:cNvSpPr>
                <a:spLocks noChangeArrowheads="1"/>
              </p:cNvSpPr>
              <p:nvPr/>
            </p:nvSpPr>
            <p:spPr bwMode="auto">
              <a:xfrm>
                <a:off x="6340680" y="2392317"/>
                <a:ext cx="1353106" cy="958312"/>
              </a:xfrm>
              <a:prstGeom prst="wedgeRectCallout">
                <a:avLst>
                  <a:gd name="adj1" fmla="val -73676"/>
                  <a:gd name="adj2" fmla="val 16556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791" name="Rektangel 55"/>
              <p:cNvSpPr>
                <a:spLocks noChangeArrowheads="1"/>
              </p:cNvSpPr>
              <p:nvPr/>
            </p:nvSpPr>
            <p:spPr bwMode="auto">
              <a:xfrm>
                <a:off x="6430472" y="2464131"/>
                <a:ext cx="1173794" cy="7981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Giugn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en-US" sz="1292" b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Peer Review a Faro</a:t>
                </a:r>
              </a:p>
            </p:txBody>
          </p:sp>
          <p:sp>
            <p:nvSpPr>
              <p:cNvPr id="60" name="Freeform 100"/>
              <p:cNvSpPr>
                <a:spLocks/>
              </p:cNvSpPr>
              <p:nvPr/>
            </p:nvSpPr>
            <p:spPr bwMode="auto">
              <a:xfrm>
                <a:off x="4615134" y="1899518"/>
                <a:ext cx="720855" cy="496010"/>
              </a:xfrm>
              <a:custGeom>
                <a:avLst/>
                <a:gdLst>
                  <a:gd name="T0" fmla="*/ 2147483647 w 454"/>
                  <a:gd name="T1" fmla="*/ 2147483647 h 312"/>
                  <a:gd name="T2" fmla="*/ 2147483647 w 454"/>
                  <a:gd name="T3" fmla="*/ 2147483647 h 312"/>
                  <a:gd name="T4" fmla="*/ 2147483647 w 454"/>
                  <a:gd name="T5" fmla="*/ 2147483647 h 312"/>
                  <a:gd name="T6" fmla="*/ 2147483647 w 454"/>
                  <a:gd name="T7" fmla="*/ 2147483647 h 312"/>
                  <a:gd name="T8" fmla="*/ 2147483647 w 454"/>
                  <a:gd name="T9" fmla="*/ 2147483647 h 312"/>
                  <a:gd name="T10" fmla="*/ 2147483647 w 454"/>
                  <a:gd name="T11" fmla="*/ 2147483647 h 312"/>
                  <a:gd name="T12" fmla="*/ 2147483647 w 454"/>
                  <a:gd name="T13" fmla="*/ 2147483647 h 312"/>
                  <a:gd name="T14" fmla="*/ 2147483647 w 454"/>
                  <a:gd name="T15" fmla="*/ 2147483647 h 312"/>
                  <a:gd name="T16" fmla="*/ 2147483647 w 454"/>
                  <a:gd name="T17" fmla="*/ 2147483647 h 312"/>
                  <a:gd name="T18" fmla="*/ 0 w 454"/>
                  <a:gd name="T19" fmla="*/ 0 h 312"/>
                  <a:gd name="T20" fmla="*/ 0 w 454"/>
                  <a:gd name="T21" fmla="*/ 2147483647 h 312"/>
                  <a:gd name="T22" fmla="*/ 0 w 454"/>
                  <a:gd name="T23" fmla="*/ 2147483647 h 312"/>
                  <a:gd name="T24" fmla="*/ 2147483647 w 454"/>
                  <a:gd name="T25" fmla="*/ 2147483647 h 312"/>
                  <a:gd name="T26" fmla="*/ 2147483647 w 454"/>
                  <a:gd name="T27" fmla="*/ 2147483647 h 312"/>
                  <a:gd name="T28" fmla="*/ 2147483647 w 454"/>
                  <a:gd name="T29" fmla="*/ 2147483647 h 312"/>
                  <a:gd name="T30" fmla="*/ 2147483647 w 454"/>
                  <a:gd name="T31" fmla="*/ 2147483647 h 312"/>
                  <a:gd name="T32" fmla="*/ 2147483647 w 454"/>
                  <a:gd name="T33" fmla="*/ 2147483647 h 312"/>
                  <a:gd name="T34" fmla="*/ 2147483647 w 454"/>
                  <a:gd name="T35" fmla="*/ 2147483647 h 312"/>
                  <a:gd name="T36" fmla="*/ 2147483647 w 454"/>
                  <a:gd name="T37" fmla="*/ 2147483647 h 312"/>
                  <a:gd name="T38" fmla="*/ 2147483647 w 454"/>
                  <a:gd name="T39" fmla="*/ 2147483647 h 312"/>
                  <a:gd name="T40" fmla="*/ 2147483647 w 454"/>
                  <a:gd name="T41" fmla="*/ 2147483647 h 3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2"/>
                  <a:gd name="T65" fmla="*/ 454 w 454"/>
                  <a:gd name="T66" fmla="*/ 312 h 3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2">
                    <a:moveTo>
                      <a:pt x="454" y="122"/>
                    </a:moveTo>
                    <a:lnTo>
                      <a:pt x="454" y="122"/>
                    </a:lnTo>
                    <a:lnTo>
                      <a:pt x="402" y="94"/>
                    </a:lnTo>
                    <a:lnTo>
                      <a:pt x="348" y="70"/>
                    </a:lnTo>
                    <a:lnTo>
                      <a:pt x="292" y="48"/>
                    </a:lnTo>
                    <a:lnTo>
                      <a:pt x="236" y="32"/>
                    </a:lnTo>
                    <a:lnTo>
                      <a:pt x="178" y="18"/>
                    </a:lnTo>
                    <a:lnTo>
                      <a:pt x="118" y="8"/>
                    </a:lnTo>
                    <a:lnTo>
                      <a:pt x="60" y="2"/>
                    </a:lnTo>
                    <a:lnTo>
                      <a:pt x="0" y="0"/>
                    </a:lnTo>
                    <a:lnTo>
                      <a:pt x="0" y="220"/>
                    </a:lnTo>
                    <a:lnTo>
                      <a:pt x="46" y="220"/>
                    </a:lnTo>
                    <a:lnTo>
                      <a:pt x="90" y="224"/>
                    </a:lnTo>
                    <a:lnTo>
                      <a:pt x="134" y="232"/>
                    </a:lnTo>
                    <a:lnTo>
                      <a:pt x="178" y="242"/>
                    </a:lnTo>
                    <a:lnTo>
                      <a:pt x="222" y="256"/>
                    </a:lnTo>
                    <a:lnTo>
                      <a:pt x="264" y="272"/>
                    </a:lnTo>
                    <a:lnTo>
                      <a:pt x="306" y="290"/>
                    </a:lnTo>
                    <a:lnTo>
                      <a:pt x="346" y="312"/>
                    </a:lnTo>
                    <a:lnTo>
                      <a:pt x="454" y="12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923" dirty="0"/>
              </a:p>
            </p:txBody>
          </p:sp>
          <p:sp>
            <p:nvSpPr>
              <p:cNvPr id="61" name="Freeform 101"/>
              <p:cNvSpPr>
                <a:spLocks/>
              </p:cNvSpPr>
              <p:nvPr/>
            </p:nvSpPr>
            <p:spPr bwMode="auto">
              <a:xfrm>
                <a:off x="5188814" y="2109800"/>
                <a:ext cx="701332" cy="701478"/>
              </a:xfrm>
              <a:custGeom>
                <a:avLst/>
                <a:gdLst>
                  <a:gd name="T0" fmla="*/ 2147483647 w 442"/>
                  <a:gd name="T1" fmla="*/ 2147483647 h 442"/>
                  <a:gd name="T2" fmla="*/ 2147483647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0 h 442"/>
                  <a:gd name="T20" fmla="*/ 0 w 442"/>
                  <a:gd name="T21" fmla="*/ 2147483647 h 442"/>
                  <a:gd name="T22" fmla="*/ 0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2147483647 h 442"/>
                  <a:gd name="T40" fmla="*/ 2147483647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442" y="332"/>
                    </a:moveTo>
                    <a:lnTo>
                      <a:pt x="442" y="332"/>
                    </a:lnTo>
                    <a:lnTo>
                      <a:pt x="412" y="282"/>
                    </a:lnTo>
                    <a:lnTo>
                      <a:pt x="376" y="232"/>
                    </a:lnTo>
                    <a:lnTo>
                      <a:pt x="338" y="186"/>
                    </a:lnTo>
                    <a:lnTo>
                      <a:pt x="298" y="144"/>
                    </a:lnTo>
                    <a:lnTo>
                      <a:pt x="254" y="104"/>
                    </a:lnTo>
                    <a:lnTo>
                      <a:pt x="208" y="66"/>
                    </a:lnTo>
                    <a:lnTo>
                      <a:pt x="160" y="30"/>
                    </a:lnTo>
                    <a:lnTo>
                      <a:pt x="110" y="0"/>
                    </a:lnTo>
                    <a:lnTo>
                      <a:pt x="0" y="188"/>
                    </a:lnTo>
                    <a:lnTo>
                      <a:pt x="40" y="212"/>
                    </a:lnTo>
                    <a:lnTo>
                      <a:pt x="76" y="238"/>
                    </a:lnTo>
                    <a:lnTo>
                      <a:pt x="110" y="268"/>
                    </a:lnTo>
                    <a:lnTo>
                      <a:pt x="144" y="298"/>
                    </a:lnTo>
                    <a:lnTo>
                      <a:pt x="174" y="330"/>
                    </a:lnTo>
                    <a:lnTo>
                      <a:pt x="204" y="366"/>
                    </a:lnTo>
                    <a:lnTo>
                      <a:pt x="230" y="402"/>
                    </a:lnTo>
                    <a:lnTo>
                      <a:pt x="254" y="442"/>
                    </a:lnTo>
                    <a:lnTo>
                      <a:pt x="442" y="33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923" dirty="0"/>
              </a:p>
            </p:txBody>
          </p:sp>
          <p:sp>
            <p:nvSpPr>
              <p:cNvPr id="62" name="Freeform 102"/>
              <p:cNvSpPr>
                <a:spLocks/>
              </p:cNvSpPr>
              <p:nvPr/>
            </p:nvSpPr>
            <p:spPr bwMode="auto">
              <a:xfrm>
                <a:off x="5604807" y="2665204"/>
                <a:ext cx="495588" cy="720741"/>
              </a:xfrm>
              <a:custGeom>
                <a:avLst/>
                <a:gdLst>
                  <a:gd name="T0" fmla="*/ 2147483647 w 312"/>
                  <a:gd name="T1" fmla="*/ 2147483647 h 454"/>
                  <a:gd name="T2" fmla="*/ 2147483647 w 312"/>
                  <a:gd name="T3" fmla="*/ 2147483647 h 454"/>
                  <a:gd name="T4" fmla="*/ 2147483647 w 312"/>
                  <a:gd name="T5" fmla="*/ 2147483647 h 454"/>
                  <a:gd name="T6" fmla="*/ 2147483647 w 312"/>
                  <a:gd name="T7" fmla="*/ 2147483647 h 454"/>
                  <a:gd name="T8" fmla="*/ 2147483647 w 312"/>
                  <a:gd name="T9" fmla="*/ 2147483647 h 454"/>
                  <a:gd name="T10" fmla="*/ 2147483647 w 312"/>
                  <a:gd name="T11" fmla="*/ 2147483647 h 454"/>
                  <a:gd name="T12" fmla="*/ 2147483647 w 312"/>
                  <a:gd name="T13" fmla="*/ 2147483647 h 454"/>
                  <a:gd name="T14" fmla="*/ 2147483647 w 312"/>
                  <a:gd name="T15" fmla="*/ 2147483647 h 454"/>
                  <a:gd name="T16" fmla="*/ 2147483647 w 312"/>
                  <a:gd name="T17" fmla="*/ 2147483647 h 454"/>
                  <a:gd name="T18" fmla="*/ 2147483647 w 312"/>
                  <a:gd name="T19" fmla="*/ 0 h 454"/>
                  <a:gd name="T20" fmla="*/ 0 w 312"/>
                  <a:gd name="T21" fmla="*/ 2147483647 h 454"/>
                  <a:gd name="T22" fmla="*/ 0 w 312"/>
                  <a:gd name="T23" fmla="*/ 2147483647 h 454"/>
                  <a:gd name="T24" fmla="*/ 2147483647 w 312"/>
                  <a:gd name="T25" fmla="*/ 2147483647 h 454"/>
                  <a:gd name="T26" fmla="*/ 2147483647 w 312"/>
                  <a:gd name="T27" fmla="*/ 2147483647 h 454"/>
                  <a:gd name="T28" fmla="*/ 2147483647 w 312"/>
                  <a:gd name="T29" fmla="*/ 2147483647 h 454"/>
                  <a:gd name="T30" fmla="*/ 2147483647 w 312"/>
                  <a:gd name="T31" fmla="*/ 2147483647 h 454"/>
                  <a:gd name="T32" fmla="*/ 2147483647 w 312"/>
                  <a:gd name="T33" fmla="*/ 2147483647 h 454"/>
                  <a:gd name="T34" fmla="*/ 2147483647 w 312"/>
                  <a:gd name="T35" fmla="*/ 2147483647 h 454"/>
                  <a:gd name="T36" fmla="*/ 2147483647 w 312"/>
                  <a:gd name="T37" fmla="*/ 2147483647 h 454"/>
                  <a:gd name="T38" fmla="*/ 2147483647 w 312"/>
                  <a:gd name="T39" fmla="*/ 2147483647 h 454"/>
                  <a:gd name="T40" fmla="*/ 2147483647 w 312"/>
                  <a:gd name="T41" fmla="*/ 2147483647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2"/>
                  <a:gd name="T64" fmla="*/ 0 h 454"/>
                  <a:gd name="T65" fmla="*/ 312 w 312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2" h="454">
                    <a:moveTo>
                      <a:pt x="312" y="454"/>
                    </a:moveTo>
                    <a:lnTo>
                      <a:pt x="312" y="454"/>
                    </a:lnTo>
                    <a:lnTo>
                      <a:pt x="310" y="394"/>
                    </a:lnTo>
                    <a:lnTo>
                      <a:pt x="304" y="334"/>
                    </a:lnTo>
                    <a:lnTo>
                      <a:pt x="294" y="276"/>
                    </a:lnTo>
                    <a:lnTo>
                      <a:pt x="280" y="218"/>
                    </a:lnTo>
                    <a:lnTo>
                      <a:pt x="262" y="162"/>
                    </a:lnTo>
                    <a:lnTo>
                      <a:pt x="242" y="106"/>
                    </a:lnTo>
                    <a:lnTo>
                      <a:pt x="218" y="52"/>
                    </a:lnTo>
                    <a:lnTo>
                      <a:pt x="190" y="0"/>
                    </a:lnTo>
                    <a:lnTo>
                      <a:pt x="0" y="108"/>
                    </a:lnTo>
                    <a:lnTo>
                      <a:pt x="22" y="148"/>
                    </a:lnTo>
                    <a:lnTo>
                      <a:pt x="40" y="190"/>
                    </a:lnTo>
                    <a:lnTo>
                      <a:pt x="56" y="232"/>
                    </a:lnTo>
                    <a:lnTo>
                      <a:pt x="70" y="276"/>
                    </a:lnTo>
                    <a:lnTo>
                      <a:pt x="80" y="318"/>
                    </a:lnTo>
                    <a:lnTo>
                      <a:pt x="86" y="364"/>
                    </a:lnTo>
                    <a:lnTo>
                      <a:pt x="92" y="408"/>
                    </a:lnTo>
                    <a:lnTo>
                      <a:pt x="92" y="454"/>
                    </a:lnTo>
                    <a:lnTo>
                      <a:pt x="312" y="454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923" dirty="0"/>
              </a:p>
            </p:txBody>
          </p:sp>
          <p:sp>
            <p:nvSpPr>
              <p:cNvPr id="63" name="Freeform 103"/>
              <p:cNvSpPr>
                <a:spLocks/>
              </p:cNvSpPr>
              <p:nvPr/>
            </p:nvSpPr>
            <p:spPr bwMode="auto">
              <a:xfrm>
                <a:off x="5606309" y="3414838"/>
                <a:ext cx="494086" cy="720740"/>
              </a:xfrm>
              <a:custGeom>
                <a:avLst/>
                <a:gdLst>
                  <a:gd name="T0" fmla="*/ 2147483647 w 312"/>
                  <a:gd name="T1" fmla="*/ 2147483647 h 454"/>
                  <a:gd name="T2" fmla="*/ 2147483647 w 312"/>
                  <a:gd name="T3" fmla="*/ 2147483647 h 454"/>
                  <a:gd name="T4" fmla="*/ 2147483647 w 312"/>
                  <a:gd name="T5" fmla="*/ 2147483647 h 454"/>
                  <a:gd name="T6" fmla="*/ 2147483647 w 312"/>
                  <a:gd name="T7" fmla="*/ 2147483647 h 454"/>
                  <a:gd name="T8" fmla="*/ 2147483647 w 312"/>
                  <a:gd name="T9" fmla="*/ 2147483647 h 454"/>
                  <a:gd name="T10" fmla="*/ 2147483647 w 312"/>
                  <a:gd name="T11" fmla="*/ 2147483647 h 454"/>
                  <a:gd name="T12" fmla="*/ 2147483647 w 312"/>
                  <a:gd name="T13" fmla="*/ 2147483647 h 454"/>
                  <a:gd name="T14" fmla="*/ 2147483647 w 312"/>
                  <a:gd name="T15" fmla="*/ 2147483647 h 454"/>
                  <a:gd name="T16" fmla="*/ 2147483647 w 312"/>
                  <a:gd name="T17" fmla="*/ 2147483647 h 454"/>
                  <a:gd name="T18" fmla="*/ 2147483647 w 312"/>
                  <a:gd name="T19" fmla="*/ 0 h 454"/>
                  <a:gd name="T20" fmla="*/ 2147483647 w 312"/>
                  <a:gd name="T21" fmla="*/ 0 h 454"/>
                  <a:gd name="T22" fmla="*/ 2147483647 w 312"/>
                  <a:gd name="T23" fmla="*/ 0 h 454"/>
                  <a:gd name="T24" fmla="*/ 2147483647 w 312"/>
                  <a:gd name="T25" fmla="*/ 2147483647 h 454"/>
                  <a:gd name="T26" fmla="*/ 2147483647 w 312"/>
                  <a:gd name="T27" fmla="*/ 2147483647 h 454"/>
                  <a:gd name="T28" fmla="*/ 2147483647 w 312"/>
                  <a:gd name="T29" fmla="*/ 2147483647 h 454"/>
                  <a:gd name="T30" fmla="*/ 2147483647 w 312"/>
                  <a:gd name="T31" fmla="*/ 2147483647 h 454"/>
                  <a:gd name="T32" fmla="*/ 2147483647 w 312"/>
                  <a:gd name="T33" fmla="*/ 2147483647 h 454"/>
                  <a:gd name="T34" fmla="*/ 2147483647 w 312"/>
                  <a:gd name="T35" fmla="*/ 2147483647 h 454"/>
                  <a:gd name="T36" fmla="*/ 2147483647 w 312"/>
                  <a:gd name="T37" fmla="*/ 2147483647 h 454"/>
                  <a:gd name="T38" fmla="*/ 0 w 312"/>
                  <a:gd name="T39" fmla="*/ 2147483647 h 454"/>
                  <a:gd name="T40" fmla="*/ 2147483647 w 312"/>
                  <a:gd name="T41" fmla="*/ 2147483647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2"/>
                  <a:gd name="T64" fmla="*/ 0 h 454"/>
                  <a:gd name="T65" fmla="*/ 312 w 312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2" h="454">
                    <a:moveTo>
                      <a:pt x="190" y="454"/>
                    </a:moveTo>
                    <a:lnTo>
                      <a:pt x="190" y="454"/>
                    </a:lnTo>
                    <a:lnTo>
                      <a:pt x="218" y="402"/>
                    </a:lnTo>
                    <a:lnTo>
                      <a:pt x="242" y="346"/>
                    </a:lnTo>
                    <a:lnTo>
                      <a:pt x="262" y="292"/>
                    </a:lnTo>
                    <a:lnTo>
                      <a:pt x="280" y="234"/>
                    </a:lnTo>
                    <a:lnTo>
                      <a:pt x="294" y="176"/>
                    </a:lnTo>
                    <a:lnTo>
                      <a:pt x="304" y="118"/>
                    </a:lnTo>
                    <a:lnTo>
                      <a:pt x="310" y="58"/>
                    </a:lnTo>
                    <a:lnTo>
                      <a:pt x="312" y="0"/>
                    </a:lnTo>
                    <a:lnTo>
                      <a:pt x="92" y="0"/>
                    </a:lnTo>
                    <a:lnTo>
                      <a:pt x="92" y="44"/>
                    </a:lnTo>
                    <a:lnTo>
                      <a:pt x="86" y="90"/>
                    </a:lnTo>
                    <a:lnTo>
                      <a:pt x="80" y="134"/>
                    </a:lnTo>
                    <a:lnTo>
                      <a:pt x="70" y="178"/>
                    </a:lnTo>
                    <a:lnTo>
                      <a:pt x="56" y="222"/>
                    </a:lnTo>
                    <a:lnTo>
                      <a:pt x="40" y="264"/>
                    </a:lnTo>
                    <a:lnTo>
                      <a:pt x="22" y="304"/>
                    </a:lnTo>
                    <a:lnTo>
                      <a:pt x="0" y="344"/>
                    </a:lnTo>
                    <a:lnTo>
                      <a:pt x="190" y="454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4" name="Freeform 104"/>
              <p:cNvSpPr>
                <a:spLocks/>
              </p:cNvSpPr>
              <p:nvPr/>
            </p:nvSpPr>
            <p:spPr bwMode="auto">
              <a:xfrm>
                <a:off x="5190315" y="3991109"/>
                <a:ext cx="699830" cy="699873"/>
              </a:xfrm>
              <a:custGeom>
                <a:avLst/>
                <a:gdLst>
                  <a:gd name="T0" fmla="*/ 2147483647 w 442"/>
                  <a:gd name="T1" fmla="*/ 2147483647 h 442"/>
                  <a:gd name="T2" fmla="*/ 2147483647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2147483647 h 442"/>
                  <a:gd name="T20" fmla="*/ 2147483647 w 442"/>
                  <a:gd name="T21" fmla="*/ 0 h 442"/>
                  <a:gd name="T22" fmla="*/ 2147483647 w 442"/>
                  <a:gd name="T23" fmla="*/ 0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0 w 442"/>
                  <a:gd name="T39" fmla="*/ 2147483647 h 442"/>
                  <a:gd name="T40" fmla="*/ 2147483647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110" y="442"/>
                    </a:moveTo>
                    <a:lnTo>
                      <a:pt x="110" y="442"/>
                    </a:lnTo>
                    <a:lnTo>
                      <a:pt x="160" y="410"/>
                    </a:lnTo>
                    <a:lnTo>
                      <a:pt x="208" y="376"/>
                    </a:lnTo>
                    <a:lnTo>
                      <a:pt x="254" y="338"/>
                    </a:lnTo>
                    <a:lnTo>
                      <a:pt x="298" y="298"/>
                    </a:lnTo>
                    <a:lnTo>
                      <a:pt x="338" y="254"/>
                    </a:lnTo>
                    <a:lnTo>
                      <a:pt x="376" y="208"/>
                    </a:lnTo>
                    <a:lnTo>
                      <a:pt x="412" y="160"/>
                    </a:lnTo>
                    <a:lnTo>
                      <a:pt x="442" y="108"/>
                    </a:lnTo>
                    <a:lnTo>
                      <a:pt x="254" y="0"/>
                    </a:lnTo>
                    <a:lnTo>
                      <a:pt x="230" y="38"/>
                    </a:lnTo>
                    <a:lnTo>
                      <a:pt x="204" y="76"/>
                    </a:lnTo>
                    <a:lnTo>
                      <a:pt x="174" y="110"/>
                    </a:lnTo>
                    <a:lnTo>
                      <a:pt x="144" y="144"/>
                    </a:lnTo>
                    <a:lnTo>
                      <a:pt x="110" y="174"/>
                    </a:lnTo>
                    <a:lnTo>
                      <a:pt x="76" y="202"/>
                    </a:lnTo>
                    <a:lnTo>
                      <a:pt x="40" y="228"/>
                    </a:lnTo>
                    <a:lnTo>
                      <a:pt x="0" y="252"/>
                    </a:lnTo>
                    <a:lnTo>
                      <a:pt x="110" y="442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5" name="Freeform 105"/>
              <p:cNvSpPr>
                <a:spLocks/>
              </p:cNvSpPr>
              <p:nvPr/>
            </p:nvSpPr>
            <p:spPr bwMode="auto">
              <a:xfrm>
                <a:off x="4615134" y="4403649"/>
                <a:ext cx="720855" cy="494405"/>
              </a:xfrm>
              <a:custGeom>
                <a:avLst/>
                <a:gdLst>
                  <a:gd name="T0" fmla="*/ 0 w 454"/>
                  <a:gd name="T1" fmla="*/ 2147483647 h 310"/>
                  <a:gd name="T2" fmla="*/ 0 w 454"/>
                  <a:gd name="T3" fmla="*/ 2147483647 h 310"/>
                  <a:gd name="T4" fmla="*/ 2147483647 w 454"/>
                  <a:gd name="T5" fmla="*/ 2147483647 h 310"/>
                  <a:gd name="T6" fmla="*/ 2147483647 w 454"/>
                  <a:gd name="T7" fmla="*/ 2147483647 h 310"/>
                  <a:gd name="T8" fmla="*/ 2147483647 w 454"/>
                  <a:gd name="T9" fmla="*/ 2147483647 h 310"/>
                  <a:gd name="T10" fmla="*/ 2147483647 w 454"/>
                  <a:gd name="T11" fmla="*/ 2147483647 h 310"/>
                  <a:gd name="T12" fmla="*/ 2147483647 w 454"/>
                  <a:gd name="T13" fmla="*/ 2147483647 h 310"/>
                  <a:gd name="T14" fmla="*/ 2147483647 w 454"/>
                  <a:gd name="T15" fmla="*/ 2147483647 h 310"/>
                  <a:gd name="T16" fmla="*/ 2147483647 w 454"/>
                  <a:gd name="T17" fmla="*/ 2147483647 h 310"/>
                  <a:gd name="T18" fmla="*/ 2147483647 w 454"/>
                  <a:gd name="T19" fmla="*/ 2147483647 h 310"/>
                  <a:gd name="T20" fmla="*/ 2147483647 w 454"/>
                  <a:gd name="T21" fmla="*/ 0 h 310"/>
                  <a:gd name="T22" fmla="*/ 2147483647 w 454"/>
                  <a:gd name="T23" fmla="*/ 0 h 310"/>
                  <a:gd name="T24" fmla="*/ 2147483647 w 454"/>
                  <a:gd name="T25" fmla="*/ 2147483647 h 310"/>
                  <a:gd name="T26" fmla="*/ 2147483647 w 454"/>
                  <a:gd name="T27" fmla="*/ 2147483647 h 310"/>
                  <a:gd name="T28" fmla="*/ 2147483647 w 454"/>
                  <a:gd name="T29" fmla="*/ 2147483647 h 310"/>
                  <a:gd name="T30" fmla="*/ 2147483647 w 454"/>
                  <a:gd name="T31" fmla="*/ 2147483647 h 310"/>
                  <a:gd name="T32" fmla="*/ 2147483647 w 454"/>
                  <a:gd name="T33" fmla="*/ 2147483647 h 310"/>
                  <a:gd name="T34" fmla="*/ 2147483647 w 454"/>
                  <a:gd name="T35" fmla="*/ 2147483647 h 310"/>
                  <a:gd name="T36" fmla="*/ 2147483647 w 454"/>
                  <a:gd name="T37" fmla="*/ 2147483647 h 310"/>
                  <a:gd name="T38" fmla="*/ 0 w 454"/>
                  <a:gd name="T39" fmla="*/ 2147483647 h 310"/>
                  <a:gd name="T40" fmla="*/ 0 w 454"/>
                  <a:gd name="T41" fmla="*/ 2147483647 h 31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0"/>
                  <a:gd name="T65" fmla="*/ 454 w 454"/>
                  <a:gd name="T66" fmla="*/ 310 h 31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0">
                    <a:moveTo>
                      <a:pt x="0" y="310"/>
                    </a:moveTo>
                    <a:lnTo>
                      <a:pt x="0" y="310"/>
                    </a:lnTo>
                    <a:lnTo>
                      <a:pt x="60" y="308"/>
                    </a:lnTo>
                    <a:lnTo>
                      <a:pt x="118" y="302"/>
                    </a:lnTo>
                    <a:lnTo>
                      <a:pt x="178" y="292"/>
                    </a:lnTo>
                    <a:lnTo>
                      <a:pt x="236" y="280"/>
                    </a:lnTo>
                    <a:lnTo>
                      <a:pt x="292" y="262"/>
                    </a:lnTo>
                    <a:lnTo>
                      <a:pt x="348" y="242"/>
                    </a:lnTo>
                    <a:lnTo>
                      <a:pt x="402" y="216"/>
                    </a:lnTo>
                    <a:lnTo>
                      <a:pt x="454" y="188"/>
                    </a:lnTo>
                    <a:lnTo>
                      <a:pt x="346" y="0"/>
                    </a:lnTo>
                    <a:lnTo>
                      <a:pt x="306" y="20"/>
                    </a:lnTo>
                    <a:lnTo>
                      <a:pt x="264" y="40"/>
                    </a:lnTo>
                    <a:lnTo>
                      <a:pt x="222" y="56"/>
                    </a:lnTo>
                    <a:lnTo>
                      <a:pt x="178" y="68"/>
                    </a:lnTo>
                    <a:lnTo>
                      <a:pt x="134" y="78"/>
                    </a:lnTo>
                    <a:lnTo>
                      <a:pt x="90" y="86"/>
                    </a:lnTo>
                    <a:lnTo>
                      <a:pt x="46" y="90"/>
                    </a:lnTo>
                    <a:lnTo>
                      <a:pt x="0" y="92"/>
                    </a:lnTo>
                    <a:lnTo>
                      <a:pt x="0" y="31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6" name="Freeform 106"/>
              <p:cNvSpPr>
                <a:spLocks/>
              </p:cNvSpPr>
              <p:nvPr/>
            </p:nvSpPr>
            <p:spPr bwMode="auto">
              <a:xfrm>
                <a:off x="3865744" y="4403649"/>
                <a:ext cx="720855" cy="494405"/>
              </a:xfrm>
              <a:custGeom>
                <a:avLst/>
                <a:gdLst>
                  <a:gd name="T0" fmla="*/ 0 w 454"/>
                  <a:gd name="T1" fmla="*/ 2147483647 h 310"/>
                  <a:gd name="T2" fmla="*/ 0 w 454"/>
                  <a:gd name="T3" fmla="*/ 2147483647 h 310"/>
                  <a:gd name="T4" fmla="*/ 2147483647 w 454"/>
                  <a:gd name="T5" fmla="*/ 2147483647 h 310"/>
                  <a:gd name="T6" fmla="*/ 2147483647 w 454"/>
                  <a:gd name="T7" fmla="*/ 2147483647 h 310"/>
                  <a:gd name="T8" fmla="*/ 2147483647 w 454"/>
                  <a:gd name="T9" fmla="*/ 2147483647 h 310"/>
                  <a:gd name="T10" fmla="*/ 2147483647 w 454"/>
                  <a:gd name="T11" fmla="*/ 2147483647 h 310"/>
                  <a:gd name="T12" fmla="*/ 2147483647 w 454"/>
                  <a:gd name="T13" fmla="*/ 2147483647 h 310"/>
                  <a:gd name="T14" fmla="*/ 2147483647 w 454"/>
                  <a:gd name="T15" fmla="*/ 2147483647 h 310"/>
                  <a:gd name="T16" fmla="*/ 2147483647 w 454"/>
                  <a:gd name="T17" fmla="*/ 2147483647 h 310"/>
                  <a:gd name="T18" fmla="*/ 2147483647 w 454"/>
                  <a:gd name="T19" fmla="*/ 2147483647 h 310"/>
                  <a:gd name="T20" fmla="*/ 2147483647 w 454"/>
                  <a:gd name="T21" fmla="*/ 2147483647 h 310"/>
                  <a:gd name="T22" fmla="*/ 2147483647 w 454"/>
                  <a:gd name="T23" fmla="*/ 2147483647 h 310"/>
                  <a:gd name="T24" fmla="*/ 2147483647 w 454"/>
                  <a:gd name="T25" fmla="*/ 2147483647 h 310"/>
                  <a:gd name="T26" fmla="*/ 2147483647 w 454"/>
                  <a:gd name="T27" fmla="*/ 2147483647 h 310"/>
                  <a:gd name="T28" fmla="*/ 2147483647 w 454"/>
                  <a:gd name="T29" fmla="*/ 2147483647 h 310"/>
                  <a:gd name="T30" fmla="*/ 2147483647 w 454"/>
                  <a:gd name="T31" fmla="*/ 2147483647 h 310"/>
                  <a:gd name="T32" fmla="*/ 2147483647 w 454"/>
                  <a:gd name="T33" fmla="*/ 2147483647 h 310"/>
                  <a:gd name="T34" fmla="*/ 2147483647 w 454"/>
                  <a:gd name="T35" fmla="*/ 2147483647 h 310"/>
                  <a:gd name="T36" fmla="*/ 2147483647 w 454"/>
                  <a:gd name="T37" fmla="*/ 2147483647 h 310"/>
                  <a:gd name="T38" fmla="*/ 2147483647 w 454"/>
                  <a:gd name="T39" fmla="*/ 0 h 310"/>
                  <a:gd name="T40" fmla="*/ 0 w 454"/>
                  <a:gd name="T41" fmla="*/ 2147483647 h 31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0"/>
                  <a:gd name="T65" fmla="*/ 454 w 454"/>
                  <a:gd name="T66" fmla="*/ 310 h 31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0">
                    <a:moveTo>
                      <a:pt x="0" y="188"/>
                    </a:moveTo>
                    <a:lnTo>
                      <a:pt x="0" y="188"/>
                    </a:lnTo>
                    <a:lnTo>
                      <a:pt x="52" y="216"/>
                    </a:lnTo>
                    <a:lnTo>
                      <a:pt x="106" y="242"/>
                    </a:lnTo>
                    <a:lnTo>
                      <a:pt x="162" y="262"/>
                    </a:lnTo>
                    <a:lnTo>
                      <a:pt x="220" y="280"/>
                    </a:lnTo>
                    <a:lnTo>
                      <a:pt x="278" y="292"/>
                    </a:lnTo>
                    <a:lnTo>
                      <a:pt x="336" y="302"/>
                    </a:lnTo>
                    <a:lnTo>
                      <a:pt x="394" y="308"/>
                    </a:lnTo>
                    <a:lnTo>
                      <a:pt x="454" y="310"/>
                    </a:lnTo>
                    <a:lnTo>
                      <a:pt x="454" y="92"/>
                    </a:lnTo>
                    <a:lnTo>
                      <a:pt x="410" y="90"/>
                    </a:lnTo>
                    <a:lnTo>
                      <a:pt x="364" y="86"/>
                    </a:lnTo>
                    <a:lnTo>
                      <a:pt x="320" y="78"/>
                    </a:lnTo>
                    <a:lnTo>
                      <a:pt x="276" y="68"/>
                    </a:lnTo>
                    <a:lnTo>
                      <a:pt x="232" y="56"/>
                    </a:lnTo>
                    <a:lnTo>
                      <a:pt x="190" y="40"/>
                    </a:lnTo>
                    <a:lnTo>
                      <a:pt x="150" y="20"/>
                    </a:lnTo>
                    <a:lnTo>
                      <a:pt x="110" y="0"/>
                    </a:lnTo>
                    <a:lnTo>
                      <a:pt x="0" y="188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7" name="Freeform 107"/>
              <p:cNvSpPr>
                <a:spLocks/>
              </p:cNvSpPr>
              <p:nvPr/>
            </p:nvSpPr>
            <p:spPr bwMode="auto">
              <a:xfrm>
                <a:off x="3310085" y="3991109"/>
                <a:ext cx="701333" cy="699873"/>
              </a:xfrm>
              <a:custGeom>
                <a:avLst/>
                <a:gdLst>
                  <a:gd name="T0" fmla="*/ 0 w 442"/>
                  <a:gd name="T1" fmla="*/ 2147483647 h 442"/>
                  <a:gd name="T2" fmla="*/ 0 w 442"/>
                  <a:gd name="T3" fmla="*/ 2147483647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2147483647 w 442"/>
                  <a:gd name="T19" fmla="*/ 2147483647 h 442"/>
                  <a:gd name="T20" fmla="*/ 2147483647 w 442"/>
                  <a:gd name="T21" fmla="*/ 2147483647 h 442"/>
                  <a:gd name="T22" fmla="*/ 2147483647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0 h 442"/>
                  <a:gd name="T40" fmla="*/ 0 w 442"/>
                  <a:gd name="T41" fmla="*/ 2147483647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0" y="108"/>
                    </a:moveTo>
                    <a:lnTo>
                      <a:pt x="0" y="108"/>
                    </a:lnTo>
                    <a:lnTo>
                      <a:pt x="32" y="160"/>
                    </a:lnTo>
                    <a:lnTo>
                      <a:pt x="66" y="208"/>
                    </a:lnTo>
                    <a:lnTo>
                      <a:pt x="104" y="254"/>
                    </a:lnTo>
                    <a:lnTo>
                      <a:pt x="144" y="298"/>
                    </a:lnTo>
                    <a:lnTo>
                      <a:pt x="188" y="338"/>
                    </a:lnTo>
                    <a:lnTo>
                      <a:pt x="234" y="376"/>
                    </a:lnTo>
                    <a:lnTo>
                      <a:pt x="282" y="410"/>
                    </a:lnTo>
                    <a:lnTo>
                      <a:pt x="332" y="442"/>
                    </a:lnTo>
                    <a:lnTo>
                      <a:pt x="442" y="252"/>
                    </a:lnTo>
                    <a:lnTo>
                      <a:pt x="404" y="228"/>
                    </a:lnTo>
                    <a:lnTo>
                      <a:pt x="366" y="202"/>
                    </a:lnTo>
                    <a:lnTo>
                      <a:pt x="332" y="174"/>
                    </a:lnTo>
                    <a:lnTo>
                      <a:pt x="298" y="144"/>
                    </a:lnTo>
                    <a:lnTo>
                      <a:pt x="268" y="110"/>
                    </a:lnTo>
                    <a:lnTo>
                      <a:pt x="240" y="76"/>
                    </a:lnTo>
                    <a:lnTo>
                      <a:pt x="212" y="38"/>
                    </a:lnTo>
                    <a:lnTo>
                      <a:pt x="190" y="0"/>
                    </a:lnTo>
                    <a:lnTo>
                      <a:pt x="0" y="108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8" name="Freeform 108"/>
              <p:cNvSpPr>
                <a:spLocks/>
              </p:cNvSpPr>
              <p:nvPr/>
            </p:nvSpPr>
            <p:spPr bwMode="auto">
              <a:xfrm>
                <a:off x="3104341" y="3414838"/>
                <a:ext cx="491082" cy="720740"/>
              </a:xfrm>
              <a:custGeom>
                <a:avLst/>
                <a:gdLst>
                  <a:gd name="T0" fmla="*/ 0 w 310"/>
                  <a:gd name="T1" fmla="*/ 0 h 454"/>
                  <a:gd name="T2" fmla="*/ 0 w 310"/>
                  <a:gd name="T3" fmla="*/ 0 h 454"/>
                  <a:gd name="T4" fmla="*/ 2147483647 w 310"/>
                  <a:gd name="T5" fmla="*/ 2147483647 h 454"/>
                  <a:gd name="T6" fmla="*/ 2147483647 w 310"/>
                  <a:gd name="T7" fmla="*/ 2147483647 h 454"/>
                  <a:gd name="T8" fmla="*/ 2147483647 w 310"/>
                  <a:gd name="T9" fmla="*/ 2147483647 h 454"/>
                  <a:gd name="T10" fmla="*/ 2147483647 w 310"/>
                  <a:gd name="T11" fmla="*/ 2147483647 h 454"/>
                  <a:gd name="T12" fmla="*/ 2147483647 w 310"/>
                  <a:gd name="T13" fmla="*/ 2147483647 h 454"/>
                  <a:gd name="T14" fmla="*/ 2147483647 w 310"/>
                  <a:gd name="T15" fmla="*/ 2147483647 h 454"/>
                  <a:gd name="T16" fmla="*/ 2147483647 w 310"/>
                  <a:gd name="T17" fmla="*/ 2147483647 h 454"/>
                  <a:gd name="T18" fmla="*/ 2147483647 w 310"/>
                  <a:gd name="T19" fmla="*/ 2147483647 h 454"/>
                  <a:gd name="T20" fmla="*/ 2147483647 w 310"/>
                  <a:gd name="T21" fmla="*/ 2147483647 h 454"/>
                  <a:gd name="T22" fmla="*/ 2147483647 w 310"/>
                  <a:gd name="T23" fmla="*/ 2147483647 h 454"/>
                  <a:gd name="T24" fmla="*/ 2147483647 w 310"/>
                  <a:gd name="T25" fmla="*/ 2147483647 h 454"/>
                  <a:gd name="T26" fmla="*/ 2147483647 w 310"/>
                  <a:gd name="T27" fmla="*/ 2147483647 h 454"/>
                  <a:gd name="T28" fmla="*/ 2147483647 w 310"/>
                  <a:gd name="T29" fmla="*/ 2147483647 h 454"/>
                  <a:gd name="T30" fmla="*/ 2147483647 w 310"/>
                  <a:gd name="T31" fmla="*/ 2147483647 h 454"/>
                  <a:gd name="T32" fmla="*/ 2147483647 w 310"/>
                  <a:gd name="T33" fmla="*/ 2147483647 h 454"/>
                  <a:gd name="T34" fmla="*/ 2147483647 w 310"/>
                  <a:gd name="T35" fmla="*/ 2147483647 h 454"/>
                  <a:gd name="T36" fmla="*/ 2147483647 w 310"/>
                  <a:gd name="T37" fmla="*/ 2147483647 h 454"/>
                  <a:gd name="T38" fmla="*/ 2147483647 w 310"/>
                  <a:gd name="T39" fmla="*/ 0 h 454"/>
                  <a:gd name="T40" fmla="*/ 0 w 310"/>
                  <a:gd name="T41" fmla="*/ 0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0"/>
                  <a:gd name="T64" fmla="*/ 0 h 454"/>
                  <a:gd name="T65" fmla="*/ 310 w 310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0" h="454">
                    <a:moveTo>
                      <a:pt x="0" y="0"/>
                    </a:moveTo>
                    <a:lnTo>
                      <a:pt x="0" y="0"/>
                    </a:lnTo>
                    <a:lnTo>
                      <a:pt x="2" y="58"/>
                    </a:lnTo>
                    <a:lnTo>
                      <a:pt x="8" y="118"/>
                    </a:lnTo>
                    <a:lnTo>
                      <a:pt x="16" y="176"/>
                    </a:lnTo>
                    <a:lnTo>
                      <a:pt x="30" y="234"/>
                    </a:lnTo>
                    <a:lnTo>
                      <a:pt x="48" y="292"/>
                    </a:lnTo>
                    <a:lnTo>
                      <a:pt x="68" y="346"/>
                    </a:lnTo>
                    <a:lnTo>
                      <a:pt x="94" y="402"/>
                    </a:lnTo>
                    <a:lnTo>
                      <a:pt x="122" y="454"/>
                    </a:lnTo>
                    <a:lnTo>
                      <a:pt x="310" y="344"/>
                    </a:lnTo>
                    <a:lnTo>
                      <a:pt x="290" y="304"/>
                    </a:lnTo>
                    <a:lnTo>
                      <a:pt x="270" y="264"/>
                    </a:lnTo>
                    <a:lnTo>
                      <a:pt x="254" y="222"/>
                    </a:lnTo>
                    <a:lnTo>
                      <a:pt x="242" y="178"/>
                    </a:lnTo>
                    <a:lnTo>
                      <a:pt x="232" y="134"/>
                    </a:lnTo>
                    <a:lnTo>
                      <a:pt x="224" y="90"/>
                    </a:lnTo>
                    <a:lnTo>
                      <a:pt x="220" y="44"/>
                    </a:lnTo>
                    <a:lnTo>
                      <a:pt x="218" y="0"/>
                    </a:lnTo>
                    <a:lnTo>
                      <a:pt x="0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69" name="Freeform 109"/>
              <p:cNvSpPr>
                <a:spLocks/>
              </p:cNvSpPr>
              <p:nvPr/>
            </p:nvSpPr>
            <p:spPr bwMode="auto">
              <a:xfrm>
                <a:off x="3104341" y="2665204"/>
                <a:ext cx="491082" cy="720741"/>
              </a:xfrm>
              <a:custGeom>
                <a:avLst/>
                <a:gdLst>
                  <a:gd name="T0" fmla="*/ 2147483647 w 310"/>
                  <a:gd name="T1" fmla="*/ 0 h 454"/>
                  <a:gd name="T2" fmla="*/ 2147483647 w 310"/>
                  <a:gd name="T3" fmla="*/ 0 h 454"/>
                  <a:gd name="T4" fmla="*/ 2147483647 w 310"/>
                  <a:gd name="T5" fmla="*/ 2147483647 h 454"/>
                  <a:gd name="T6" fmla="*/ 2147483647 w 310"/>
                  <a:gd name="T7" fmla="*/ 2147483647 h 454"/>
                  <a:gd name="T8" fmla="*/ 2147483647 w 310"/>
                  <a:gd name="T9" fmla="*/ 2147483647 h 454"/>
                  <a:gd name="T10" fmla="*/ 2147483647 w 310"/>
                  <a:gd name="T11" fmla="*/ 2147483647 h 454"/>
                  <a:gd name="T12" fmla="*/ 2147483647 w 310"/>
                  <a:gd name="T13" fmla="*/ 2147483647 h 454"/>
                  <a:gd name="T14" fmla="*/ 2147483647 w 310"/>
                  <a:gd name="T15" fmla="*/ 2147483647 h 454"/>
                  <a:gd name="T16" fmla="*/ 2147483647 w 310"/>
                  <a:gd name="T17" fmla="*/ 2147483647 h 454"/>
                  <a:gd name="T18" fmla="*/ 0 w 310"/>
                  <a:gd name="T19" fmla="*/ 2147483647 h 454"/>
                  <a:gd name="T20" fmla="*/ 2147483647 w 310"/>
                  <a:gd name="T21" fmla="*/ 2147483647 h 454"/>
                  <a:gd name="T22" fmla="*/ 2147483647 w 310"/>
                  <a:gd name="T23" fmla="*/ 2147483647 h 454"/>
                  <a:gd name="T24" fmla="*/ 2147483647 w 310"/>
                  <a:gd name="T25" fmla="*/ 2147483647 h 454"/>
                  <a:gd name="T26" fmla="*/ 2147483647 w 310"/>
                  <a:gd name="T27" fmla="*/ 2147483647 h 454"/>
                  <a:gd name="T28" fmla="*/ 2147483647 w 310"/>
                  <a:gd name="T29" fmla="*/ 2147483647 h 454"/>
                  <a:gd name="T30" fmla="*/ 2147483647 w 310"/>
                  <a:gd name="T31" fmla="*/ 2147483647 h 454"/>
                  <a:gd name="T32" fmla="*/ 2147483647 w 310"/>
                  <a:gd name="T33" fmla="*/ 2147483647 h 454"/>
                  <a:gd name="T34" fmla="*/ 2147483647 w 310"/>
                  <a:gd name="T35" fmla="*/ 2147483647 h 454"/>
                  <a:gd name="T36" fmla="*/ 2147483647 w 310"/>
                  <a:gd name="T37" fmla="*/ 2147483647 h 454"/>
                  <a:gd name="T38" fmla="*/ 2147483647 w 310"/>
                  <a:gd name="T39" fmla="*/ 2147483647 h 454"/>
                  <a:gd name="T40" fmla="*/ 2147483647 w 310"/>
                  <a:gd name="T41" fmla="*/ 0 h 45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310"/>
                  <a:gd name="T64" fmla="*/ 0 h 454"/>
                  <a:gd name="T65" fmla="*/ 310 w 310"/>
                  <a:gd name="T66" fmla="*/ 454 h 45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310" h="454">
                    <a:moveTo>
                      <a:pt x="122" y="0"/>
                    </a:moveTo>
                    <a:lnTo>
                      <a:pt x="122" y="0"/>
                    </a:lnTo>
                    <a:lnTo>
                      <a:pt x="94" y="52"/>
                    </a:lnTo>
                    <a:lnTo>
                      <a:pt x="68" y="106"/>
                    </a:lnTo>
                    <a:lnTo>
                      <a:pt x="48" y="162"/>
                    </a:lnTo>
                    <a:lnTo>
                      <a:pt x="30" y="218"/>
                    </a:lnTo>
                    <a:lnTo>
                      <a:pt x="16" y="276"/>
                    </a:lnTo>
                    <a:lnTo>
                      <a:pt x="8" y="334"/>
                    </a:lnTo>
                    <a:lnTo>
                      <a:pt x="2" y="394"/>
                    </a:lnTo>
                    <a:lnTo>
                      <a:pt x="0" y="454"/>
                    </a:lnTo>
                    <a:lnTo>
                      <a:pt x="218" y="454"/>
                    </a:lnTo>
                    <a:lnTo>
                      <a:pt x="220" y="408"/>
                    </a:lnTo>
                    <a:lnTo>
                      <a:pt x="224" y="364"/>
                    </a:lnTo>
                    <a:lnTo>
                      <a:pt x="232" y="318"/>
                    </a:lnTo>
                    <a:lnTo>
                      <a:pt x="242" y="276"/>
                    </a:lnTo>
                    <a:lnTo>
                      <a:pt x="254" y="232"/>
                    </a:lnTo>
                    <a:lnTo>
                      <a:pt x="270" y="190"/>
                    </a:lnTo>
                    <a:lnTo>
                      <a:pt x="290" y="148"/>
                    </a:lnTo>
                    <a:lnTo>
                      <a:pt x="310" y="108"/>
                    </a:lnTo>
                    <a:lnTo>
                      <a:pt x="122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0" name="Freeform 110"/>
              <p:cNvSpPr>
                <a:spLocks/>
              </p:cNvSpPr>
              <p:nvPr/>
            </p:nvSpPr>
            <p:spPr bwMode="auto">
              <a:xfrm>
                <a:off x="3310085" y="2109800"/>
                <a:ext cx="701333" cy="701478"/>
              </a:xfrm>
              <a:custGeom>
                <a:avLst/>
                <a:gdLst>
                  <a:gd name="T0" fmla="*/ 2147483647 w 442"/>
                  <a:gd name="T1" fmla="*/ 0 h 442"/>
                  <a:gd name="T2" fmla="*/ 2147483647 w 442"/>
                  <a:gd name="T3" fmla="*/ 0 h 442"/>
                  <a:gd name="T4" fmla="*/ 2147483647 w 442"/>
                  <a:gd name="T5" fmla="*/ 2147483647 h 442"/>
                  <a:gd name="T6" fmla="*/ 2147483647 w 442"/>
                  <a:gd name="T7" fmla="*/ 2147483647 h 442"/>
                  <a:gd name="T8" fmla="*/ 2147483647 w 442"/>
                  <a:gd name="T9" fmla="*/ 2147483647 h 442"/>
                  <a:gd name="T10" fmla="*/ 2147483647 w 442"/>
                  <a:gd name="T11" fmla="*/ 2147483647 h 442"/>
                  <a:gd name="T12" fmla="*/ 2147483647 w 442"/>
                  <a:gd name="T13" fmla="*/ 2147483647 h 442"/>
                  <a:gd name="T14" fmla="*/ 2147483647 w 442"/>
                  <a:gd name="T15" fmla="*/ 2147483647 h 442"/>
                  <a:gd name="T16" fmla="*/ 2147483647 w 442"/>
                  <a:gd name="T17" fmla="*/ 2147483647 h 442"/>
                  <a:gd name="T18" fmla="*/ 0 w 442"/>
                  <a:gd name="T19" fmla="*/ 2147483647 h 442"/>
                  <a:gd name="T20" fmla="*/ 2147483647 w 442"/>
                  <a:gd name="T21" fmla="*/ 2147483647 h 442"/>
                  <a:gd name="T22" fmla="*/ 2147483647 w 442"/>
                  <a:gd name="T23" fmla="*/ 2147483647 h 442"/>
                  <a:gd name="T24" fmla="*/ 2147483647 w 442"/>
                  <a:gd name="T25" fmla="*/ 2147483647 h 442"/>
                  <a:gd name="T26" fmla="*/ 2147483647 w 442"/>
                  <a:gd name="T27" fmla="*/ 2147483647 h 442"/>
                  <a:gd name="T28" fmla="*/ 2147483647 w 442"/>
                  <a:gd name="T29" fmla="*/ 2147483647 h 442"/>
                  <a:gd name="T30" fmla="*/ 2147483647 w 442"/>
                  <a:gd name="T31" fmla="*/ 2147483647 h 442"/>
                  <a:gd name="T32" fmla="*/ 2147483647 w 442"/>
                  <a:gd name="T33" fmla="*/ 2147483647 h 442"/>
                  <a:gd name="T34" fmla="*/ 2147483647 w 442"/>
                  <a:gd name="T35" fmla="*/ 2147483647 h 442"/>
                  <a:gd name="T36" fmla="*/ 2147483647 w 442"/>
                  <a:gd name="T37" fmla="*/ 2147483647 h 442"/>
                  <a:gd name="T38" fmla="*/ 2147483647 w 442"/>
                  <a:gd name="T39" fmla="*/ 2147483647 h 442"/>
                  <a:gd name="T40" fmla="*/ 2147483647 w 442"/>
                  <a:gd name="T41" fmla="*/ 0 h 44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42"/>
                  <a:gd name="T64" fmla="*/ 0 h 442"/>
                  <a:gd name="T65" fmla="*/ 442 w 442"/>
                  <a:gd name="T66" fmla="*/ 442 h 44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42" h="442">
                    <a:moveTo>
                      <a:pt x="332" y="0"/>
                    </a:moveTo>
                    <a:lnTo>
                      <a:pt x="332" y="0"/>
                    </a:lnTo>
                    <a:lnTo>
                      <a:pt x="282" y="30"/>
                    </a:lnTo>
                    <a:lnTo>
                      <a:pt x="234" y="66"/>
                    </a:lnTo>
                    <a:lnTo>
                      <a:pt x="188" y="104"/>
                    </a:lnTo>
                    <a:lnTo>
                      <a:pt x="144" y="144"/>
                    </a:lnTo>
                    <a:lnTo>
                      <a:pt x="104" y="186"/>
                    </a:lnTo>
                    <a:lnTo>
                      <a:pt x="66" y="232"/>
                    </a:lnTo>
                    <a:lnTo>
                      <a:pt x="32" y="282"/>
                    </a:lnTo>
                    <a:lnTo>
                      <a:pt x="0" y="332"/>
                    </a:lnTo>
                    <a:lnTo>
                      <a:pt x="190" y="442"/>
                    </a:lnTo>
                    <a:lnTo>
                      <a:pt x="212" y="402"/>
                    </a:lnTo>
                    <a:lnTo>
                      <a:pt x="240" y="366"/>
                    </a:lnTo>
                    <a:lnTo>
                      <a:pt x="268" y="330"/>
                    </a:lnTo>
                    <a:lnTo>
                      <a:pt x="298" y="298"/>
                    </a:lnTo>
                    <a:lnTo>
                      <a:pt x="332" y="268"/>
                    </a:lnTo>
                    <a:lnTo>
                      <a:pt x="366" y="238"/>
                    </a:lnTo>
                    <a:lnTo>
                      <a:pt x="404" y="212"/>
                    </a:lnTo>
                    <a:lnTo>
                      <a:pt x="442" y="188"/>
                    </a:lnTo>
                    <a:lnTo>
                      <a:pt x="332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2" name="Freeform 111"/>
              <p:cNvSpPr>
                <a:spLocks/>
              </p:cNvSpPr>
              <p:nvPr/>
            </p:nvSpPr>
            <p:spPr bwMode="auto">
              <a:xfrm>
                <a:off x="3865744" y="1899518"/>
                <a:ext cx="720855" cy="496010"/>
              </a:xfrm>
              <a:custGeom>
                <a:avLst/>
                <a:gdLst>
                  <a:gd name="T0" fmla="*/ 2147483647 w 454"/>
                  <a:gd name="T1" fmla="*/ 0 h 312"/>
                  <a:gd name="T2" fmla="*/ 2147483647 w 454"/>
                  <a:gd name="T3" fmla="*/ 0 h 312"/>
                  <a:gd name="T4" fmla="*/ 2147483647 w 454"/>
                  <a:gd name="T5" fmla="*/ 2147483647 h 312"/>
                  <a:gd name="T6" fmla="*/ 2147483647 w 454"/>
                  <a:gd name="T7" fmla="*/ 2147483647 h 312"/>
                  <a:gd name="T8" fmla="*/ 2147483647 w 454"/>
                  <a:gd name="T9" fmla="*/ 2147483647 h 312"/>
                  <a:gd name="T10" fmla="*/ 2147483647 w 454"/>
                  <a:gd name="T11" fmla="*/ 2147483647 h 312"/>
                  <a:gd name="T12" fmla="*/ 2147483647 w 454"/>
                  <a:gd name="T13" fmla="*/ 2147483647 h 312"/>
                  <a:gd name="T14" fmla="*/ 2147483647 w 454"/>
                  <a:gd name="T15" fmla="*/ 2147483647 h 312"/>
                  <a:gd name="T16" fmla="*/ 2147483647 w 454"/>
                  <a:gd name="T17" fmla="*/ 2147483647 h 312"/>
                  <a:gd name="T18" fmla="*/ 0 w 454"/>
                  <a:gd name="T19" fmla="*/ 2147483647 h 312"/>
                  <a:gd name="T20" fmla="*/ 2147483647 w 454"/>
                  <a:gd name="T21" fmla="*/ 2147483647 h 312"/>
                  <a:gd name="T22" fmla="*/ 2147483647 w 454"/>
                  <a:gd name="T23" fmla="*/ 2147483647 h 312"/>
                  <a:gd name="T24" fmla="*/ 2147483647 w 454"/>
                  <a:gd name="T25" fmla="*/ 2147483647 h 312"/>
                  <a:gd name="T26" fmla="*/ 2147483647 w 454"/>
                  <a:gd name="T27" fmla="*/ 2147483647 h 312"/>
                  <a:gd name="T28" fmla="*/ 2147483647 w 454"/>
                  <a:gd name="T29" fmla="*/ 2147483647 h 312"/>
                  <a:gd name="T30" fmla="*/ 2147483647 w 454"/>
                  <a:gd name="T31" fmla="*/ 2147483647 h 312"/>
                  <a:gd name="T32" fmla="*/ 2147483647 w 454"/>
                  <a:gd name="T33" fmla="*/ 2147483647 h 312"/>
                  <a:gd name="T34" fmla="*/ 2147483647 w 454"/>
                  <a:gd name="T35" fmla="*/ 2147483647 h 312"/>
                  <a:gd name="T36" fmla="*/ 2147483647 w 454"/>
                  <a:gd name="T37" fmla="*/ 2147483647 h 312"/>
                  <a:gd name="T38" fmla="*/ 2147483647 w 454"/>
                  <a:gd name="T39" fmla="*/ 2147483647 h 312"/>
                  <a:gd name="T40" fmla="*/ 2147483647 w 454"/>
                  <a:gd name="T41" fmla="*/ 0 h 31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54"/>
                  <a:gd name="T64" fmla="*/ 0 h 312"/>
                  <a:gd name="T65" fmla="*/ 454 w 454"/>
                  <a:gd name="T66" fmla="*/ 312 h 31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54" h="312">
                    <a:moveTo>
                      <a:pt x="454" y="0"/>
                    </a:moveTo>
                    <a:lnTo>
                      <a:pt x="454" y="0"/>
                    </a:lnTo>
                    <a:lnTo>
                      <a:pt x="394" y="2"/>
                    </a:lnTo>
                    <a:lnTo>
                      <a:pt x="336" y="8"/>
                    </a:lnTo>
                    <a:lnTo>
                      <a:pt x="278" y="18"/>
                    </a:lnTo>
                    <a:lnTo>
                      <a:pt x="220" y="32"/>
                    </a:lnTo>
                    <a:lnTo>
                      <a:pt x="162" y="48"/>
                    </a:lnTo>
                    <a:lnTo>
                      <a:pt x="106" y="70"/>
                    </a:lnTo>
                    <a:lnTo>
                      <a:pt x="52" y="94"/>
                    </a:lnTo>
                    <a:lnTo>
                      <a:pt x="0" y="122"/>
                    </a:lnTo>
                    <a:lnTo>
                      <a:pt x="110" y="312"/>
                    </a:lnTo>
                    <a:lnTo>
                      <a:pt x="150" y="290"/>
                    </a:lnTo>
                    <a:lnTo>
                      <a:pt x="190" y="272"/>
                    </a:lnTo>
                    <a:lnTo>
                      <a:pt x="232" y="256"/>
                    </a:lnTo>
                    <a:lnTo>
                      <a:pt x="276" y="242"/>
                    </a:lnTo>
                    <a:lnTo>
                      <a:pt x="320" y="232"/>
                    </a:lnTo>
                    <a:lnTo>
                      <a:pt x="364" y="224"/>
                    </a:lnTo>
                    <a:lnTo>
                      <a:pt x="410" y="220"/>
                    </a:lnTo>
                    <a:lnTo>
                      <a:pt x="454" y="220"/>
                    </a:lnTo>
                    <a:lnTo>
                      <a:pt x="454" y="0"/>
                    </a:lnTo>
                    <a:close/>
                  </a:path>
                </a:pathLst>
              </a:custGeom>
              <a:ln/>
              <a:extLst/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sz="1015" dirty="0"/>
              </a:p>
            </p:txBody>
          </p:sp>
          <p:sp>
            <p:nvSpPr>
              <p:cNvPr id="74" name="Rektangulær billedforklaring 70"/>
              <p:cNvSpPr>
                <a:spLocks noChangeArrowheads="1"/>
              </p:cNvSpPr>
              <p:nvPr/>
            </p:nvSpPr>
            <p:spPr bwMode="auto">
              <a:xfrm>
                <a:off x="6280609" y="3413233"/>
                <a:ext cx="1413177" cy="956707"/>
              </a:xfrm>
              <a:prstGeom prst="wedgeRectCallout">
                <a:avLst>
                  <a:gd name="adj1" fmla="val -72403"/>
                  <a:gd name="adj2" fmla="val -29648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05" name="Rektangel 71"/>
              <p:cNvSpPr>
                <a:spLocks noChangeArrowheads="1"/>
              </p:cNvSpPr>
              <p:nvPr/>
            </p:nvSpPr>
            <p:spPr bwMode="auto">
              <a:xfrm>
                <a:off x="6253557" y="3404959"/>
                <a:ext cx="1440229" cy="8416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Luglio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FF0000"/>
                    </a:solidFill>
                    <a:latin typeface="Calibri" pitchFamily="34" charset="0"/>
                    <a:cs typeface="Arial" charset="0"/>
                  </a:rPr>
                  <a:t>Invio Progres n. 1.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Tavolo </a:t>
                </a:r>
                <a:r>
                  <a:rPr lang="it-IT" sz="1108" b="1" noProof="1">
                    <a:solidFill>
                      <a:srgbClr val="00B0F0"/>
                    </a:solidFill>
                    <a:latin typeface="Calibri" pitchFamily="34" charset="0"/>
                    <a:cs typeface="Arial" charset="0"/>
                  </a:rPr>
                  <a:t>MISE-MIUR</a:t>
                </a:r>
              </a:p>
            </p:txBody>
          </p:sp>
          <p:sp>
            <p:nvSpPr>
              <p:cNvPr id="78" name="Rektangulær billedforklaring 72"/>
              <p:cNvSpPr>
                <a:spLocks noChangeArrowheads="1"/>
              </p:cNvSpPr>
              <p:nvPr/>
            </p:nvSpPr>
            <p:spPr bwMode="auto">
              <a:xfrm>
                <a:off x="5807548" y="4434148"/>
                <a:ext cx="1688003" cy="942260"/>
              </a:xfrm>
              <a:prstGeom prst="wedgeRectCallout">
                <a:avLst>
                  <a:gd name="adj1" fmla="val -66037"/>
                  <a:gd name="adj2" fmla="val -55139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0" name="Rektangulær billedforklaring 74"/>
              <p:cNvSpPr>
                <a:spLocks noChangeArrowheads="1"/>
              </p:cNvSpPr>
              <p:nvPr/>
            </p:nvSpPr>
            <p:spPr bwMode="auto">
              <a:xfrm>
                <a:off x="4511510" y="5105127"/>
                <a:ext cx="1305049" cy="1080308"/>
              </a:xfrm>
              <a:prstGeom prst="wedgeRectCallout">
                <a:avLst>
                  <a:gd name="adj1" fmla="val 2745"/>
                  <a:gd name="adj2" fmla="val -82227"/>
                </a:avLst>
              </a:prstGeom>
              <a:ln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2" name="Rektangulær billedforklaring 76"/>
              <p:cNvSpPr>
                <a:spLocks noChangeArrowheads="1"/>
              </p:cNvSpPr>
              <p:nvPr/>
            </p:nvSpPr>
            <p:spPr bwMode="auto">
              <a:xfrm>
                <a:off x="3245509" y="5105127"/>
                <a:ext cx="1196920" cy="1080308"/>
              </a:xfrm>
              <a:prstGeom prst="wedgeRectCallout">
                <a:avLst>
                  <a:gd name="adj1" fmla="val 32042"/>
                  <a:gd name="adj2" fmla="val -85412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4" name="Rektangulær billedforklaring 78"/>
              <p:cNvSpPr>
                <a:spLocks noChangeArrowheads="1"/>
              </p:cNvSpPr>
              <p:nvPr/>
            </p:nvSpPr>
            <p:spPr bwMode="auto">
              <a:xfrm>
                <a:off x="1997528" y="4421306"/>
                <a:ext cx="1195418" cy="1088334"/>
              </a:xfrm>
              <a:prstGeom prst="wedgeRectCallout">
                <a:avLst>
                  <a:gd name="adj1" fmla="val 80440"/>
                  <a:gd name="adj2" fmla="val -51954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6" name="Rektangulær billedforklaring 80"/>
              <p:cNvSpPr>
                <a:spLocks noChangeArrowheads="1"/>
              </p:cNvSpPr>
              <p:nvPr/>
            </p:nvSpPr>
            <p:spPr bwMode="auto">
              <a:xfrm>
                <a:off x="1662631" y="3429285"/>
                <a:ext cx="1196920" cy="956707"/>
              </a:xfrm>
              <a:prstGeom prst="wedgeRectCallout">
                <a:avLst>
                  <a:gd name="adj1" fmla="val 72801"/>
                  <a:gd name="adj2" fmla="val -36023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8" name="Rektangulær billedforklaring 82"/>
              <p:cNvSpPr>
                <a:spLocks noChangeArrowheads="1"/>
              </p:cNvSpPr>
              <p:nvPr/>
            </p:nvSpPr>
            <p:spPr bwMode="auto">
              <a:xfrm>
                <a:off x="1616075" y="2392317"/>
                <a:ext cx="1196920" cy="958312"/>
              </a:xfrm>
              <a:prstGeom prst="wedgeRectCallout">
                <a:avLst>
                  <a:gd name="adj1" fmla="val 82991"/>
                  <a:gd name="adj2" fmla="val -12125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89" name="Rektangulær billedforklaring 84"/>
              <p:cNvSpPr>
                <a:spLocks noChangeArrowheads="1"/>
              </p:cNvSpPr>
              <p:nvPr/>
            </p:nvSpPr>
            <p:spPr bwMode="auto">
              <a:xfrm>
                <a:off x="1999030" y="1251012"/>
                <a:ext cx="1195418" cy="956707"/>
              </a:xfrm>
              <a:prstGeom prst="wedgeRectCallout">
                <a:avLst>
                  <a:gd name="adj1" fmla="val 74074"/>
                  <a:gd name="adj2" fmla="val 40449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13" name="Rektangel 83"/>
              <p:cNvSpPr>
                <a:spLocks noChangeArrowheads="1"/>
              </p:cNvSpPr>
              <p:nvPr/>
            </p:nvSpPr>
            <p:spPr bwMode="auto">
              <a:xfrm>
                <a:off x="1676268" y="3385243"/>
                <a:ext cx="1206500" cy="10159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Dicembre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Mappatura laboratori e attrezzature</a:t>
                </a:r>
              </a:p>
            </p:txBody>
          </p:sp>
          <p:sp>
            <p:nvSpPr>
              <p:cNvPr id="32814" name="Rektangel 85"/>
              <p:cNvSpPr>
                <a:spLocks noChangeArrowheads="1"/>
              </p:cNvSpPr>
              <p:nvPr/>
            </p:nvSpPr>
            <p:spPr bwMode="auto">
              <a:xfrm>
                <a:off x="2015717" y="4391441"/>
                <a:ext cx="1286898" cy="14515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Novembre ‘13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Partecipazione a Tavoli </a:t>
                </a:r>
                <a:r>
                  <a:rPr lang="it-IT" sz="1108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MISE-MIUR</a:t>
                </a: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. Test pilota sugli indicatori</a:t>
                </a:r>
              </a:p>
            </p:txBody>
          </p:sp>
          <p:sp>
            <p:nvSpPr>
              <p:cNvPr id="92" name="Rektangulær billedforklaring 86"/>
              <p:cNvSpPr>
                <a:spLocks noChangeArrowheads="1"/>
              </p:cNvSpPr>
              <p:nvPr/>
            </p:nvSpPr>
            <p:spPr bwMode="auto">
              <a:xfrm>
                <a:off x="3230491" y="669925"/>
                <a:ext cx="1488265" cy="956707"/>
              </a:xfrm>
              <a:prstGeom prst="wedgeRectCallout">
                <a:avLst>
                  <a:gd name="adj1" fmla="val 25671"/>
                  <a:gd name="adj2" fmla="val 80282"/>
                </a:avLst>
              </a:prstGeom>
              <a:gradFill rotWithShape="1">
                <a:gsLst>
                  <a:gs pos="0">
                    <a:schemeClr val="bg1">
                      <a:lumMod val="85000"/>
                    </a:schemeClr>
                  </a:gs>
                  <a:gs pos="76300">
                    <a:schemeClr val="bg1"/>
                  </a:gs>
                  <a:gs pos="100000">
                    <a:schemeClr val="bg1">
                      <a:lumMod val="95000"/>
                    </a:schemeClr>
                  </a:gs>
                </a:gsLst>
                <a:lin ang="16200000"/>
              </a:gra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schemeClr val="bg1">
                    <a:lumMod val="65000"/>
                    <a:alpha val="40000"/>
                  </a:scheme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n-US" sz="1477" dirty="0">
                  <a:solidFill>
                    <a:srgbClr val="FFFFFF"/>
                  </a:solidFill>
                  <a:latin typeface="Arial Narrow" charset="0"/>
                  <a:ea typeface="ＭＳ Ｐゴシック" pitchFamily="-112" charset="-128"/>
                </a:endParaRPr>
              </a:p>
            </p:txBody>
          </p:sp>
          <p:sp>
            <p:nvSpPr>
              <p:cNvPr id="32816" name="Rektangel 87"/>
              <p:cNvSpPr>
                <a:spLocks noChangeArrowheads="1"/>
              </p:cNvSpPr>
              <p:nvPr/>
            </p:nvSpPr>
            <p:spPr bwMode="auto">
              <a:xfrm>
                <a:off x="1662515" y="2390652"/>
                <a:ext cx="1287441" cy="101592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rgbClr val="080808"/>
                    </a:solidFill>
                    <a:latin typeface="Calibri" pitchFamily="34" charset="0"/>
                    <a:cs typeface="Arial" charset="0"/>
                  </a:rPr>
                  <a:t>Gennaio ’14</a:t>
                </a:r>
              </a:p>
              <a:p>
                <a:pPr algn="ctr" defTabSz="740038">
                  <a:spcBef>
                    <a:spcPct val="20000"/>
                  </a:spcBef>
                </a:pPr>
                <a:r>
                  <a:rPr lang="it-IT" sz="1292" b="1" noProof="1">
                    <a:solidFill>
                      <a:schemeClr val="accent1"/>
                    </a:solidFill>
                    <a:latin typeface="Calibri" pitchFamily="34" charset="0"/>
                    <a:cs typeface="Arial" charset="0"/>
                  </a:rPr>
                  <a:t>Aggiornamento analisi di contesto</a:t>
                </a:r>
              </a:p>
            </p:txBody>
          </p:sp>
        </p:grpSp>
      </p:grpSp>
      <p:sp>
        <p:nvSpPr>
          <p:cNvPr id="32771" name="Rektangel 71"/>
          <p:cNvSpPr>
            <a:spLocks noChangeArrowheads="1"/>
          </p:cNvSpPr>
          <p:nvPr/>
        </p:nvSpPr>
        <p:spPr bwMode="auto">
          <a:xfrm>
            <a:off x="6759820" y="4799135"/>
            <a:ext cx="1822938" cy="52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Agosto-settembre 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Elaborazione Vision</a:t>
            </a:r>
          </a:p>
        </p:txBody>
      </p:sp>
      <p:sp>
        <p:nvSpPr>
          <p:cNvPr id="32772" name="Rektangel 83"/>
          <p:cNvSpPr>
            <a:spLocks noChangeArrowheads="1"/>
          </p:cNvSpPr>
          <p:nvPr/>
        </p:nvSpPr>
        <p:spPr bwMode="auto">
          <a:xfrm>
            <a:off x="5593374" y="5418993"/>
            <a:ext cx="1334965" cy="7285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Ottobre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Partecipazione Tavoli </a:t>
            </a:r>
            <a:r>
              <a:rPr lang="it-IT" sz="1108" b="1" noProof="1">
                <a:solidFill>
                  <a:srgbClr val="00B0F0"/>
                </a:solidFill>
                <a:latin typeface="Calibri" pitchFamily="34" charset="0"/>
                <a:cs typeface="Arial" charset="0"/>
              </a:rPr>
              <a:t>MISE-MIUR</a:t>
            </a:r>
          </a:p>
        </p:txBody>
      </p:sp>
      <p:sp>
        <p:nvSpPr>
          <p:cNvPr id="32773" name="Rektangel 85"/>
          <p:cNvSpPr>
            <a:spLocks noChangeArrowheads="1"/>
          </p:cNvSpPr>
          <p:nvPr/>
        </p:nvSpPr>
        <p:spPr bwMode="auto">
          <a:xfrm>
            <a:off x="4377104" y="5351585"/>
            <a:ext cx="1170842" cy="9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Novembre ‘13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chemeClr val="accent1"/>
                </a:solidFill>
                <a:latin typeface="Calibri" pitchFamily="34" charset="0"/>
                <a:cs typeface="Arial" charset="0"/>
              </a:rPr>
              <a:t>Elaborazione primo Sistema di indicatori</a:t>
            </a:r>
          </a:p>
        </p:txBody>
      </p:sp>
      <p:sp>
        <p:nvSpPr>
          <p:cNvPr id="32774" name="Rektangel 87"/>
          <p:cNvSpPr>
            <a:spLocks noChangeArrowheads="1"/>
          </p:cNvSpPr>
          <p:nvPr/>
        </p:nvSpPr>
        <p:spPr bwMode="auto">
          <a:xfrm>
            <a:off x="3118339" y="1745274"/>
            <a:ext cx="1170843" cy="927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Gennaio ’14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chemeClr val="accent1"/>
                </a:solidFill>
                <a:latin typeface="Calibri" pitchFamily="34" charset="0"/>
                <a:cs typeface="Arial" charset="0"/>
              </a:rPr>
              <a:t>Schede tematiche priorità</a:t>
            </a:r>
          </a:p>
        </p:txBody>
      </p:sp>
      <p:sp>
        <p:nvSpPr>
          <p:cNvPr id="32775" name="Rektangel 87"/>
          <p:cNvSpPr>
            <a:spLocks noChangeArrowheads="1"/>
          </p:cNvSpPr>
          <p:nvPr/>
        </p:nvSpPr>
        <p:spPr bwMode="auto">
          <a:xfrm>
            <a:off x="4347797" y="1334966"/>
            <a:ext cx="1560634" cy="529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080808"/>
                </a:solidFill>
                <a:latin typeface="Calibri" pitchFamily="34" charset="0"/>
                <a:cs typeface="Arial" charset="0"/>
              </a:rPr>
              <a:t>Febbraio ’14</a:t>
            </a:r>
          </a:p>
          <a:p>
            <a:pPr algn="ctr" defTabSz="740038">
              <a:spcBef>
                <a:spcPct val="20000"/>
              </a:spcBef>
            </a:pPr>
            <a:r>
              <a:rPr lang="it-IT" sz="1292" b="1" noProof="1">
                <a:solidFill>
                  <a:srgbClr val="FF0000"/>
                </a:solidFill>
                <a:latin typeface="Calibri" pitchFamily="34" charset="0"/>
                <a:cs typeface="Arial" charset="0"/>
              </a:rPr>
              <a:t>Invio Progress n. 2</a:t>
            </a:r>
          </a:p>
        </p:txBody>
      </p:sp>
      <p:grpSp>
        <p:nvGrpSpPr>
          <p:cNvPr id="32776" name="Gruppo 6"/>
          <p:cNvGrpSpPr>
            <a:grpSpLocks/>
          </p:cNvGrpSpPr>
          <p:nvPr/>
        </p:nvGrpSpPr>
        <p:grpSpPr bwMode="auto">
          <a:xfrm>
            <a:off x="168520" y="5423389"/>
            <a:ext cx="2781300" cy="778119"/>
            <a:chOff x="-147930" y="-613865"/>
            <a:chExt cx="3525613" cy="843596"/>
          </a:xfrm>
        </p:grpSpPr>
        <p:graphicFrame>
          <p:nvGraphicFramePr>
            <p:cNvPr id="3" name="Diagramma 2"/>
            <p:cNvGraphicFramePr/>
            <p:nvPr/>
          </p:nvGraphicFramePr>
          <p:xfrm>
            <a:off x="-147930" y="-607827"/>
            <a:ext cx="3525613" cy="837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sp>
          <p:nvSpPr>
            <p:cNvPr id="32782" name="CasellaDiTesto 4"/>
            <p:cNvSpPr txBox="1">
              <a:spLocks noChangeArrowheads="1"/>
            </p:cNvSpPr>
            <p:nvPr/>
          </p:nvSpPr>
          <p:spPr bwMode="auto">
            <a:xfrm>
              <a:off x="52235" y="-613865"/>
              <a:ext cx="3125282" cy="40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62" b="1">
                  <a:solidFill>
                    <a:srgbClr val="FF0000"/>
                  </a:solidFill>
                </a:rPr>
                <a:t>Il nostro percorso </a:t>
              </a:r>
              <a:r>
                <a:rPr lang="it-IT" sz="1846" b="1">
                  <a:solidFill>
                    <a:srgbClr val="FF0000"/>
                  </a:solidFill>
                </a:rPr>
                <a:t>…</a:t>
              </a:r>
            </a:p>
          </p:txBody>
        </p:sp>
      </p:grpSp>
      <p:pic>
        <p:nvPicPr>
          <p:cNvPr id="5127" name="Picture 7" descr="C:\Users\User\AppData\Local\Microsoft\Windows\Temporary Internet Files\Content.IE5\DZV5P7NP\MC900441896[1].wmf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779205" y="4112902"/>
            <a:ext cx="1768251" cy="1226287"/>
          </a:xfrm>
          <a:prstGeom prst="rect">
            <a:avLst/>
          </a:prstGeom>
          <a:noFill/>
          <a:extLst/>
        </p:spPr>
      </p:pic>
      <p:grpSp>
        <p:nvGrpSpPr>
          <p:cNvPr id="32778" name="Gruppo 86"/>
          <p:cNvGrpSpPr>
            <a:grpSpLocks/>
          </p:cNvGrpSpPr>
          <p:nvPr/>
        </p:nvGrpSpPr>
        <p:grpSpPr bwMode="auto">
          <a:xfrm>
            <a:off x="168520" y="5423389"/>
            <a:ext cx="2781300" cy="778119"/>
            <a:chOff x="-147930" y="-613865"/>
            <a:chExt cx="3525613" cy="843596"/>
          </a:xfrm>
        </p:grpSpPr>
        <p:graphicFrame>
          <p:nvGraphicFramePr>
            <p:cNvPr id="99" name="Diagramma 98"/>
            <p:cNvGraphicFramePr/>
            <p:nvPr/>
          </p:nvGraphicFramePr>
          <p:xfrm>
            <a:off x="-147930" y="-607827"/>
            <a:ext cx="3525613" cy="83755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4" r:lo="rId15" r:qs="rId16" r:cs="rId17"/>
            </a:graphicData>
          </a:graphic>
        </p:graphicFrame>
        <p:sp>
          <p:nvSpPr>
            <p:cNvPr id="32780" name="CasellaDiTesto 99"/>
            <p:cNvSpPr txBox="1">
              <a:spLocks noChangeArrowheads="1"/>
            </p:cNvSpPr>
            <p:nvPr/>
          </p:nvSpPr>
          <p:spPr bwMode="auto">
            <a:xfrm>
              <a:off x="52235" y="-613865"/>
              <a:ext cx="3125282" cy="4080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it-IT" sz="1662" b="1">
                  <a:solidFill>
                    <a:srgbClr val="FF0000"/>
                  </a:solidFill>
                </a:rPr>
                <a:t>Il nostro percorso </a:t>
              </a:r>
              <a:r>
                <a:rPr lang="it-IT" sz="1846" b="1">
                  <a:solidFill>
                    <a:srgbClr val="FF0000"/>
                  </a:solidFill>
                </a:rPr>
                <a:t>…</a:t>
              </a:r>
            </a:p>
          </p:txBody>
        </p:sp>
      </p:grpSp>
      <p:graphicFrame>
        <p:nvGraphicFramePr>
          <p:cNvPr id="51" name="Diagramma 50"/>
          <p:cNvGraphicFramePr/>
          <p:nvPr>
            <p:extLst>
              <p:ext uri="{D42A27DB-BD31-4B8C-83A1-F6EECF244321}">
                <p14:modId xmlns:p14="http://schemas.microsoft.com/office/powerpoint/2010/main" val="1265698129"/>
              </p:ext>
            </p:extLst>
          </p:nvPr>
        </p:nvGraphicFramePr>
        <p:xfrm>
          <a:off x="195858" y="738329"/>
          <a:ext cx="876863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</p:spTree>
    <p:extLst>
      <p:ext uri="{BB962C8B-B14F-4D97-AF65-F5344CB8AC3E}">
        <p14:creationId xmlns:p14="http://schemas.microsoft.com/office/powerpoint/2010/main" val="378174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 noGrp="1"/>
          </p:cNvSpPr>
          <p:nvPr>
            <p:ph type="title" idx="4294967295"/>
          </p:nvPr>
        </p:nvSpPr>
        <p:spPr>
          <a:xfrm>
            <a:off x="611560" y="1052736"/>
            <a:ext cx="7976089" cy="1302187"/>
          </a:xfrm>
        </p:spPr>
        <p:txBody>
          <a:bodyPr>
            <a:normAutofit fontScale="90000"/>
          </a:bodyPr>
          <a:lstStyle/>
          <a:p>
            <a:pPr marL="422041" lvl="0">
              <a:buSzPct val="45000"/>
              <a:defRPr/>
            </a:pP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 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r>
              <a:rPr lang="it-IT" sz="2000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sz="2000" b="1" dirty="0" smtClean="0">
                <a:solidFill>
                  <a:schemeClr val="accent1">
                    <a:lumMod val="75000"/>
                  </a:schemeClr>
                </a:solidFill>
              </a:rPr>
              <a:t>Sicilia: prossime tappe</a:t>
            </a:r>
            <a:r>
              <a:rPr lang="it-IT" sz="2000" dirty="0"/>
              <a:t/>
            </a:r>
            <a:br>
              <a:rPr lang="it-IT" sz="2000" dirty="0"/>
            </a:br>
            <a:r>
              <a:rPr lang="it-IT" sz="2215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Azioni </a:t>
            </a: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previste e risultati attesi nei prossimi mesi 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  <a:t>(aprile-dicembre 2014)</a:t>
            </a:r>
            <a:br>
              <a:rPr lang="it-IT" sz="2215" dirty="0">
                <a:solidFill>
                  <a:schemeClr val="accent1">
                    <a:lumMod val="60000"/>
                    <a:lumOff val="40000"/>
                  </a:schemeClr>
                </a:solidFill>
                <a:latin typeface="Neo Sans Std Medium"/>
                <a:ea typeface="+mn-ea"/>
                <a:cs typeface="Arial" pitchFamily="34" charset="0"/>
              </a:rPr>
            </a:br>
            <a:endParaRPr lang="it-IT" sz="2215" dirty="0">
              <a:solidFill>
                <a:schemeClr val="accent1">
                  <a:lumMod val="60000"/>
                  <a:lumOff val="40000"/>
                </a:schemeClr>
              </a:solidFill>
              <a:latin typeface="Neo Sans Std Medium"/>
              <a:ea typeface="+mn-ea"/>
              <a:cs typeface="Arial" pitchFamily="34" charset="0"/>
            </a:endParaRPr>
          </a:p>
        </p:txBody>
      </p:sp>
      <p:graphicFrame>
        <p:nvGraphicFramePr>
          <p:cNvPr id="3" name="Segnaposto contenuto 2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316845525"/>
              </p:ext>
            </p:extLst>
          </p:nvPr>
        </p:nvGraphicFramePr>
        <p:xfrm>
          <a:off x="450927" y="1767254"/>
          <a:ext cx="8175678" cy="45617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4" name="Diagramma 3"/>
          <p:cNvGraphicFramePr/>
          <p:nvPr/>
        </p:nvGraphicFramePr>
        <p:xfrm>
          <a:off x="914974" y="1501401"/>
          <a:ext cx="7696904" cy="7976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5657111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83865" y="908720"/>
            <a:ext cx="8232531" cy="863600"/>
          </a:xfrm>
          <a:noFill/>
        </p:spPr>
        <p:txBody>
          <a:bodyPr/>
          <a:lstStyle/>
          <a:p>
            <a:pPr algn="ctr">
              <a:defRPr/>
            </a:pP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La RIS 3 Sicilia ha </a:t>
            </a:r>
            <a:r>
              <a:rPr lang="it-IT" sz="24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avviato un processo per </a:t>
            </a: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valorizzare</a:t>
            </a:r>
            <a:b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</a:b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 </a:t>
            </a:r>
            <a:r>
              <a:rPr lang="it-IT" sz="24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il potenziale individuato </a:t>
            </a:r>
            <a:r>
              <a:rPr lang="it-IT" sz="2400" kern="1200" dirty="0" smtClean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attraverso:</a:t>
            </a:r>
            <a:endParaRPr lang="it-IT" sz="2400" kern="1200" dirty="0">
              <a:solidFill>
                <a:schemeClr val="accent2"/>
              </a:solidFill>
              <a:latin typeface="Neo Sans Std Medium" pitchFamily="34" charset="0"/>
              <a:ea typeface="+mn-ea"/>
              <a:cs typeface="+mn-cs"/>
            </a:endParaRPr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3568877063"/>
              </p:ext>
            </p:extLst>
          </p:nvPr>
        </p:nvGraphicFramePr>
        <p:xfrm>
          <a:off x="716802" y="1772816"/>
          <a:ext cx="7976271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4073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835696" y="548680"/>
            <a:ext cx="5472608" cy="432048"/>
          </a:xfrm>
          <a:noFill/>
        </p:spPr>
        <p:txBody>
          <a:bodyPr>
            <a:normAutofit fontScale="90000"/>
          </a:bodyPr>
          <a:lstStyle/>
          <a:p>
            <a:pPr algn="ctr">
              <a:defRPr/>
            </a:pPr>
            <a:r>
              <a:rPr lang="it-IT" sz="3200" kern="1200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Obiettivi</a:t>
            </a:r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390167410"/>
              </p:ext>
            </p:extLst>
          </p:nvPr>
        </p:nvGraphicFramePr>
        <p:xfrm>
          <a:off x="251520" y="1196752"/>
          <a:ext cx="8693073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878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16"/>
          <p:cNvGraphicFramePr>
            <a:graphicFrameLocks noGrp="1"/>
          </p:cNvGraphicFramePr>
          <p:nvPr>
            <p:extLst/>
          </p:nvPr>
        </p:nvGraphicFramePr>
        <p:xfrm>
          <a:off x="360735" y="2099622"/>
          <a:ext cx="8465275" cy="399272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21E4AEA4-8DFA-4A89-87EB-49C32662AFE0}</a:tableStyleId>
              </a:tblPr>
              <a:tblGrid>
                <a:gridCol w="3215492"/>
                <a:gridCol w="2450780"/>
                <a:gridCol w="2799003"/>
              </a:tblGrid>
              <a:tr h="3850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OBIETTIVI GENERALI</a:t>
                      </a:r>
                      <a:endParaRPr lang="it-IT" sz="1100" b="1" dirty="0" smtClean="0">
                        <a:solidFill>
                          <a:schemeClr val="bg1"/>
                        </a:solidFill>
                        <a:effectLst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LEVE DEL CAMBIAMENTO</a:t>
                      </a:r>
                      <a:endParaRPr lang="it-IT" sz="11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100" dirty="0" smtClean="0">
                          <a:effectLst/>
                        </a:rPr>
                        <a:t>RISORSE DA ATTIVARE</a:t>
                      </a:r>
                      <a:endParaRPr lang="it-IT" sz="1100" b="1" dirty="0">
                        <a:solidFill>
                          <a:schemeClr val="bg1"/>
                        </a:solidFill>
                        <a:effectLst/>
                        <a:latin typeface="Calibri"/>
                        <a:ea typeface="Calibri"/>
                        <a:cs typeface="Calibri"/>
                      </a:endParaRPr>
                    </a:p>
                  </a:txBody>
                  <a:tcPr marL="61259" marR="61259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71333">
                <a:tc rowSpan="3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Rafforzare il sistema produttivo regionale</a:t>
                      </a:r>
                      <a:r>
                        <a:rPr lang="it-IT" sz="1300" dirty="0">
                          <a:effectLst/>
                        </a:rPr>
                        <a:t> </a:t>
                      </a:r>
                      <a:r>
                        <a:rPr lang="it-IT" sz="1000" kern="1200" dirty="0"/>
                        <a:t>supportando il posizionamento nelle aree tecnologiche in cui la regione vanta delle competenze </a:t>
                      </a:r>
                      <a:r>
                        <a:rPr lang="it-IT" sz="1000" kern="1200" dirty="0" smtClean="0"/>
                        <a:t>distintive ( KETs: micro-elettronica e biotecnologie) </a:t>
                      </a:r>
                      <a:r>
                        <a:rPr lang="it-IT" sz="1000" kern="1200" dirty="0"/>
                        <a:t>e promuovendo </a:t>
                      </a:r>
                      <a:r>
                        <a:rPr lang="it-IT" sz="1000" kern="1200" dirty="0" smtClean="0"/>
                        <a:t>l’innalzamento del livello </a:t>
                      </a:r>
                      <a:r>
                        <a:rPr lang="it-IT" sz="1000" kern="1200" dirty="0"/>
                        <a:t>tecnologico e la scoperta imprenditoriale nei settori produttivi tradizionali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 smtClean="0"/>
                        <a:t>Significativo posizionamento </a:t>
                      </a:r>
                      <a:r>
                        <a:rPr lang="it-IT" sz="1000" b="1" kern="1200" dirty="0"/>
                        <a:t>competitivo</a:t>
                      </a:r>
                      <a:r>
                        <a:rPr lang="it-IT" sz="1000" kern="1200" dirty="0"/>
                        <a:t> del sistema regione nel presidio di alcune </a:t>
                      </a:r>
                      <a:r>
                        <a:rPr lang="it-IT" sz="1000" kern="1200" dirty="0" smtClean="0"/>
                        <a:t>KETs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ree di expertise chiave,  </a:t>
                      </a:r>
                      <a:r>
                        <a:rPr lang="it-IT" sz="1000" kern="1200" dirty="0"/>
                        <a:t>sistemi avanzati di relazione tra Università, centri di ricerca, grandi imprese  &amp; PMI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3723">
                <a:tc vMerge="1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364" marR="66364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nsità del tessuto economico/imprenditoriale </a:t>
                      </a:r>
                      <a:r>
                        <a:rPr lang="it-IT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dizionale (n. imprese, addetti) e presenza di fattori endogeni </a:t>
                      </a:r>
                      <a:r>
                        <a:rPr lang="it-IT" sz="1000" b="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qualificanti</a:t>
                      </a:r>
                    </a:p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endParaRPr lang="it-IT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Asset sottoutilizzati</a:t>
                      </a:r>
                      <a:r>
                        <a:rPr lang="it-IT" sz="1000" kern="1200" dirty="0"/>
                        <a:t>, Settori economici tradizionali, innovazioni tecnologiche e non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9415">
                <a:tc vMerge="1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364" marR="66364" marT="0" marB="0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Matching tra imprenditorialità</a:t>
                      </a:r>
                      <a:r>
                        <a:rPr lang="it-IT" sz="1000" kern="1200" dirty="0"/>
                        <a:t>, anche potenziale, e l’offerta di ricerca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kern="1200" dirty="0"/>
                        <a:t>) e </a:t>
                      </a:r>
                      <a:r>
                        <a:rPr lang="it-IT" sz="1000" b="1" kern="1200" dirty="0"/>
                        <a:t>offerta di ricerca 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11825">
                <a:tc rowSpan="2"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ostenere la diffusione di soluzioni e servizi innovativi </a:t>
                      </a:r>
                      <a:r>
                        <a:rPr lang="it-IT" sz="1000" kern="1200" dirty="0" smtClean="0"/>
                        <a:t>in risposta ai bisogni sociali, economici ed ambientali insoddisfatti e finalizzati a migliorare la qualità della vita dei siciliani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kern="1200" dirty="0" smtClean="0"/>
                        <a:t> </a:t>
                      </a:r>
                    </a:p>
                  </a:txBody>
                  <a:tcPr marL="84406" marR="84406" marT="42203" marB="4220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Utilizzo diffuso delle innovazioni </a:t>
                      </a:r>
                      <a:r>
                        <a:rPr lang="it-IT" sz="1000" kern="1200" dirty="0"/>
                        <a:t>(anche non </a:t>
                      </a:r>
                      <a:r>
                        <a:rPr lang="it-IT" sz="1000" kern="1200" dirty="0" err="1"/>
                        <a:t>tech</a:t>
                      </a:r>
                      <a:r>
                        <a:rPr lang="it-IT" sz="1000" kern="1200" dirty="0"/>
                        <a:t>) in risposta alle sfide sociali emergenti negli ambienti urbani e </a:t>
                      </a:r>
                      <a:r>
                        <a:rPr lang="it-IT" sz="1000" kern="1200" dirty="0" smtClean="0"/>
                        <a:t>marginali</a:t>
                      </a:r>
                    </a:p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Applicazione delle KET </a:t>
                      </a:r>
                      <a:r>
                        <a:rPr lang="it-IT" sz="1000" kern="1200" dirty="0"/>
                        <a:t>in risposta alla domanda pubblica di servizi innovativi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426774">
                <a:tc vMerge="1"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Presenza di nuove categorie </a:t>
                      </a:r>
                      <a:r>
                        <a:rPr lang="it-IT" sz="1000" kern="1200" dirty="0"/>
                        <a:t>degli innovatori sociali e di creativi culturali.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), creativi culturali e strumentalità dell’ICT 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694554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t-IT" sz="10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muovere la più ampia diffusione della cultura dell’innovazione </a:t>
                      </a:r>
                      <a:r>
                        <a:rPr lang="it-IT" sz="1000" kern="1200" dirty="0"/>
                        <a:t>a tutti i livelli della società </a:t>
                      </a:r>
                      <a:r>
                        <a:rPr lang="it-IT" sz="1000" kern="1200" dirty="0" smtClean="0"/>
                        <a:t>regionale</a:t>
                      </a:r>
                      <a:endParaRPr lang="it-IT" sz="1000" kern="1200" dirty="0"/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Potenziale latente di domanda / produzione di innovazione</a:t>
                      </a:r>
                      <a:r>
                        <a:rPr lang="it-IT" sz="1000" kern="1200" dirty="0"/>
                        <a:t> e creatività del capitale umano </a:t>
                      </a:r>
                      <a:endParaRPr lang="it-IT" sz="10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000" b="1" kern="1200" dirty="0"/>
                        <a:t>Imprenditori (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 e non </a:t>
                      </a:r>
                      <a:r>
                        <a:rPr lang="it-IT" sz="1000" b="1" kern="1200" dirty="0" err="1"/>
                        <a:t>tech</a:t>
                      </a:r>
                      <a:r>
                        <a:rPr lang="it-IT" sz="1000" b="1" kern="1200" dirty="0"/>
                        <a:t>), creativi culturali, studenti, giovani e pubblica amministrazione</a:t>
                      </a:r>
                      <a:endParaRPr lang="it-IT" sz="10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1259" marR="6125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Rettangolo 1"/>
          <p:cNvSpPr/>
          <p:nvPr/>
        </p:nvSpPr>
        <p:spPr>
          <a:xfrm>
            <a:off x="384458" y="1195775"/>
            <a:ext cx="6846277" cy="43319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it-IT" sz="2215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I PILASTRI DELLA STRATEGIA</a:t>
            </a:r>
            <a:endParaRPr lang="it-IT" sz="2215" b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Neo Sans Std Medium" pitchFamily="34" charset="0"/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5103751" y="716413"/>
            <a:ext cx="3389498" cy="1395847"/>
            <a:chOff x="4736976" y="548680"/>
            <a:chExt cx="5184124" cy="1944216"/>
          </a:xfrm>
        </p:grpSpPr>
        <p:graphicFrame>
          <p:nvGraphicFramePr>
            <p:cNvPr id="6" name="Diagramma 5"/>
            <p:cNvGraphicFramePr/>
            <p:nvPr>
              <p:extLst/>
            </p:nvPr>
          </p:nvGraphicFramePr>
          <p:xfrm>
            <a:off x="6650736" y="548680"/>
            <a:ext cx="3270364" cy="1944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7" name="Diagramma 6"/>
            <p:cNvGraphicFramePr/>
            <p:nvPr>
              <p:extLst/>
            </p:nvPr>
          </p:nvGraphicFramePr>
          <p:xfrm>
            <a:off x="4736976" y="1052736"/>
            <a:ext cx="4104456" cy="4308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sp>
        <p:nvSpPr>
          <p:cNvPr id="3" name="Rettangolo 2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1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86079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50927" y="1434810"/>
            <a:ext cx="8232531" cy="864096"/>
          </a:xfrm>
          <a:noFill/>
        </p:spPr>
        <p:txBody>
          <a:bodyPr>
            <a:normAutofit fontScale="90000"/>
          </a:bodyPr>
          <a:lstStyle/>
          <a:p>
            <a:pPr lvl="0" algn="ctr"/>
            <a: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>Il perseguimento dei tre obiettivi verrà effettuato mediante un approccio </a:t>
            </a:r>
            <a:r>
              <a:rPr lang="it-IT" sz="2215" i="1" dirty="0">
                <a:solidFill>
                  <a:srgbClr val="FF0000"/>
                </a:solidFill>
                <a:latin typeface="Neo Sans Std Medium" pitchFamily="34" charset="0"/>
                <a:ea typeface="+mn-ea"/>
                <a:cs typeface="+mn-cs"/>
              </a:rPr>
              <a:t>logico duale </a:t>
            </a:r>
            <a: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  <a:t/>
            </a:r>
            <a:br>
              <a:rPr lang="it-IT" sz="2215" dirty="0">
                <a:solidFill>
                  <a:schemeClr val="accent2"/>
                </a:solidFill>
                <a:latin typeface="Neo Sans Std Medium" pitchFamily="34" charset="0"/>
                <a:ea typeface="+mn-ea"/>
                <a:cs typeface="+mn-cs"/>
              </a:rPr>
            </a:br>
            <a:endParaRPr lang="it-IT" sz="2215" dirty="0">
              <a:solidFill>
                <a:schemeClr val="accent2"/>
              </a:solidFill>
              <a:latin typeface="Neo Sans Std Medium" pitchFamily="34" charset="0"/>
              <a:ea typeface="+mn-ea"/>
              <a:cs typeface="+mn-cs"/>
            </a:endParaRPr>
          </a:p>
        </p:txBody>
      </p:sp>
      <p:graphicFrame>
        <p:nvGraphicFramePr>
          <p:cNvPr id="3" name="Diagramma 2"/>
          <p:cNvGraphicFramePr/>
          <p:nvPr>
            <p:extLst/>
          </p:nvPr>
        </p:nvGraphicFramePr>
        <p:xfrm>
          <a:off x="583865" y="1833746"/>
          <a:ext cx="8375084" cy="39881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3973780" y="2128446"/>
            <a:ext cx="3057570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62" b="1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Attraverso interventi ….</a:t>
            </a:r>
          </a:p>
        </p:txBody>
      </p:sp>
      <p:graphicFrame>
        <p:nvGraphicFramePr>
          <p:cNvPr id="4" name="Diagramma 3"/>
          <p:cNvGraphicFramePr/>
          <p:nvPr>
            <p:extLst/>
          </p:nvPr>
        </p:nvGraphicFramePr>
        <p:xfrm>
          <a:off x="5203455" y="4027221"/>
          <a:ext cx="3655791" cy="34043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517396" y="3894283"/>
          <a:ext cx="3988135" cy="14623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8" name="Rettangolo 7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2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  <p:graphicFrame>
        <p:nvGraphicFramePr>
          <p:cNvPr id="9" name="Diagramma 8"/>
          <p:cNvGraphicFramePr/>
          <p:nvPr>
            <p:extLst>
              <p:ext uri="{D42A27DB-BD31-4B8C-83A1-F6EECF244321}">
                <p14:modId xmlns:p14="http://schemas.microsoft.com/office/powerpoint/2010/main" val="2131588200"/>
              </p:ext>
            </p:extLst>
          </p:nvPr>
        </p:nvGraphicFramePr>
        <p:xfrm>
          <a:off x="6660232" y="204437"/>
          <a:ext cx="2138238" cy="13958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2420062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o 2"/>
          <p:cNvGrpSpPr/>
          <p:nvPr/>
        </p:nvGrpSpPr>
        <p:grpSpPr>
          <a:xfrm>
            <a:off x="5488975" y="204437"/>
            <a:ext cx="3389498" cy="1395847"/>
            <a:chOff x="4736976" y="548680"/>
            <a:chExt cx="5184124" cy="1944216"/>
          </a:xfrm>
        </p:grpSpPr>
        <p:graphicFrame>
          <p:nvGraphicFramePr>
            <p:cNvPr id="4" name="Diagramma 3"/>
            <p:cNvGraphicFramePr/>
            <p:nvPr>
              <p:extLst/>
            </p:nvPr>
          </p:nvGraphicFramePr>
          <p:xfrm>
            <a:off x="6650736" y="548680"/>
            <a:ext cx="3270364" cy="194421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aphicFrame>
          <p:nvGraphicFramePr>
            <p:cNvPr id="5" name="Diagramma 4"/>
            <p:cNvGraphicFramePr/>
            <p:nvPr>
              <p:extLst/>
            </p:nvPr>
          </p:nvGraphicFramePr>
          <p:xfrm>
            <a:off x="4736976" y="1052736"/>
            <a:ext cx="4104456" cy="43088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</p:grpSp>
      <p:cxnSp>
        <p:nvCxnSpPr>
          <p:cNvPr id="26" name="Connettore 2 25"/>
          <p:cNvCxnSpPr>
            <a:endCxn id="46" idx="2"/>
          </p:cNvCxnSpPr>
          <p:nvPr/>
        </p:nvCxnSpPr>
        <p:spPr bwMode="auto">
          <a:xfrm>
            <a:off x="2368132" y="5007128"/>
            <a:ext cx="4834237" cy="103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ysDash"/>
            <a:round/>
            <a:headEnd type="none" w="med" len="med"/>
            <a:tailEnd type="arrow"/>
          </a:ln>
          <a:effectLst/>
        </p:spPr>
      </p:cxnSp>
      <p:grpSp>
        <p:nvGrpSpPr>
          <p:cNvPr id="8" name="Gruppo 7"/>
          <p:cNvGrpSpPr/>
          <p:nvPr/>
        </p:nvGrpSpPr>
        <p:grpSpPr>
          <a:xfrm>
            <a:off x="552357" y="902361"/>
            <a:ext cx="7404019" cy="5063960"/>
            <a:chOff x="558867" y="1169057"/>
            <a:chExt cx="5874263" cy="4498681"/>
          </a:xfrm>
        </p:grpSpPr>
        <p:graphicFrame>
          <p:nvGraphicFramePr>
            <p:cNvPr id="34820" name="Diagramma 34819"/>
            <p:cNvGraphicFramePr/>
            <p:nvPr>
              <p:extLst>
                <p:ext uri="{D42A27DB-BD31-4B8C-83A1-F6EECF244321}">
                  <p14:modId xmlns:p14="http://schemas.microsoft.com/office/powerpoint/2010/main" val="593181633"/>
                </p:ext>
              </p:extLst>
            </p:nvPr>
          </p:nvGraphicFramePr>
          <p:xfrm>
            <a:off x="2511464" y="1169057"/>
            <a:ext cx="1847058" cy="7102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graphicFrame>
          <p:nvGraphicFramePr>
            <p:cNvPr id="37" name="Diagramma 36"/>
            <p:cNvGraphicFramePr/>
            <p:nvPr>
              <p:extLst>
                <p:ext uri="{D42A27DB-BD31-4B8C-83A1-F6EECF244321}">
                  <p14:modId xmlns:p14="http://schemas.microsoft.com/office/powerpoint/2010/main" val="4277644545"/>
                </p:ext>
              </p:extLst>
            </p:nvPr>
          </p:nvGraphicFramePr>
          <p:xfrm>
            <a:off x="4638469" y="1302304"/>
            <a:ext cx="1794661" cy="7102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grpSp>
          <p:nvGrpSpPr>
            <p:cNvPr id="6" name="Gruppo 5"/>
            <p:cNvGrpSpPr/>
            <p:nvPr/>
          </p:nvGrpSpPr>
          <p:grpSpPr>
            <a:xfrm>
              <a:off x="558867" y="1866981"/>
              <a:ext cx="5702872" cy="3800757"/>
              <a:chOff x="558867" y="1866981"/>
              <a:chExt cx="5702872" cy="3800757"/>
            </a:xfrm>
          </p:grpSpPr>
          <p:grpSp>
            <p:nvGrpSpPr>
              <p:cNvPr id="34837" name="Gruppo 34836"/>
              <p:cNvGrpSpPr/>
              <p:nvPr/>
            </p:nvGrpSpPr>
            <p:grpSpPr>
              <a:xfrm>
                <a:off x="558867" y="1866981"/>
                <a:ext cx="5702872" cy="3800757"/>
                <a:chOff x="605439" y="1736812"/>
                <a:chExt cx="6178111" cy="4117486"/>
              </a:xfrm>
            </p:grpSpPr>
            <p:grpSp>
              <p:nvGrpSpPr>
                <p:cNvPr id="34822" name="Gruppo 34821"/>
                <p:cNvGrpSpPr/>
                <p:nvPr/>
              </p:nvGrpSpPr>
              <p:grpSpPr>
                <a:xfrm>
                  <a:off x="605439" y="1736812"/>
                  <a:ext cx="6178111" cy="4117486"/>
                  <a:chOff x="963965" y="1340768"/>
                  <a:chExt cx="6523471" cy="4463230"/>
                </a:xfrm>
              </p:grpSpPr>
              <p:graphicFrame>
                <p:nvGraphicFramePr>
                  <p:cNvPr id="15" name="Diagramma 14"/>
                  <p:cNvGraphicFramePr/>
                  <p:nvPr>
                    <p:extLst/>
                  </p:nvPr>
                </p:nvGraphicFramePr>
                <p:xfrm>
                  <a:off x="1064568" y="1340768"/>
                  <a:ext cx="2016224" cy="5770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2" r:lo="rId23" r:qs="rId24" r:cs="rId25"/>
                  </a:graphicData>
                </a:graphic>
              </p:graphicFrame>
              <p:graphicFrame>
                <p:nvGraphicFramePr>
                  <p:cNvPr id="14" name="Diagramma 13"/>
                  <p:cNvGraphicFramePr/>
                  <p:nvPr>
                    <p:extLst/>
                  </p:nvPr>
                </p:nvGraphicFramePr>
                <p:xfrm>
                  <a:off x="1103905" y="2038129"/>
                  <a:ext cx="2016224" cy="738664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27" r:lo="rId28" r:qs="rId29" r:cs="rId30"/>
                  </a:graphicData>
                </a:graphic>
              </p:graphicFrame>
              <p:graphicFrame>
                <p:nvGraphicFramePr>
                  <p:cNvPr id="13" name="Diagramma 12"/>
                  <p:cNvGraphicFramePr/>
                  <p:nvPr>
                    <p:extLst/>
                  </p:nvPr>
                </p:nvGraphicFramePr>
                <p:xfrm>
                  <a:off x="1078693" y="2876659"/>
                  <a:ext cx="2016224" cy="415498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2" r:lo="rId33" r:qs="rId34" r:cs="rId35"/>
                  </a:graphicData>
                </a:graphic>
              </p:graphicFrame>
              <p:graphicFrame>
                <p:nvGraphicFramePr>
                  <p:cNvPr id="12" name="Diagramma 11"/>
                  <p:cNvGraphicFramePr/>
                  <p:nvPr>
                    <p:extLst/>
                  </p:nvPr>
                </p:nvGraphicFramePr>
                <p:xfrm>
                  <a:off x="1064568" y="3571336"/>
                  <a:ext cx="2016224" cy="900246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7" r:lo="rId38" r:qs="rId39" r:cs="rId40"/>
                  </a:graphicData>
                </a:graphic>
              </p:graphicFrame>
              <p:graphicFrame>
                <p:nvGraphicFramePr>
                  <p:cNvPr id="7" name="Diagramma 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94817789"/>
                      </p:ext>
                    </p:extLst>
                  </p:nvPr>
                </p:nvGraphicFramePr>
                <p:xfrm>
                  <a:off x="1064568" y="4549328"/>
                  <a:ext cx="2016224" cy="577081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42" r:lo="rId43" r:qs="rId44" r:cs="rId45"/>
                  </a:graphicData>
                </a:graphic>
              </p:graphicFrame>
              <p:graphicFrame>
                <p:nvGraphicFramePr>
                  <p:cNvPr id="17" name="Diagramma 16"/>
                  <p:cNvGraphicFramePr/>
                  <p:nvPr>
                    <p:extLst>
                      <p:ext uri="{D42A27DB-BD31-4B8C-83A1-F6EECF244321}">
                        <p14:modId xmlns:p14="http://schemas.microsoft.com/office/powerpoint/2010/main" val="1462772840"/>
                      </p:ext>
                    </p:extLst>
                  </p:nvPr>
                </p:nvGraphicFramePr>
                <p:xfrm>
                  <a:off x="963965" y="5155926"/>
                  <a:ext cx="6523471" cy="648072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47" r:lo="rId48" r:qs="rId49" r:cs="rId50"/>
                  </a:graphicData>
                </a:graphic>
              </p:graphicFrame>
              <p:cxnSp>
                <p:nvCxnSpPr>
                  <p:cNvPr id="21" name="Connettore 2 20"/>
                  <p:cNvCxnSpPr/>
                  <p:nvPr/>
                </p:nvCxnSpPr>
                <p:spPr bwMode="auto">
                  <a:xfrm>
                    <a:off x="3080792" y="1628800"/>
                    <a:ext cx="1549037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3" name="Connettore 2 22"/>
                  <p:cNvCxnSpPr/>
                  <p:nvPr/>
                </p:nvCxnSpPr>
                <p:spPr bwMode="auto">
                  <a:xfrm>
                    <a:off x="3081382" y="4021459"/>
                    <a:ext cx="3900888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4" name="Connettore 2 23"/>
                  <p:cNvCxnSpPr>
                    <a:stCxn id="13" idx="3"/>
                    <a:endCxn id="44" idx="2"/>
                  </p:cNvCxnSpPr>
                  <p:nvPr/>
                </p:nvCxnSpPr>
                <p:spPr bwMode="auto">
                  <a:xfrm flipV="1">
                    <a:off x="3094917" y="3072923"/>
                    <a:ext cx="3901477" cy="11486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  <p:cxnSp>
                <p:nvCxnSpPr>
                  <p:cNvPr id="25" name="Connettore 2 24"/>
                  <p:cNvCxnSpPr/>
                  <p:nvPr/>
                </p:nvCxnSpPr>
                <p:spPr bwMode="auto">
                  <a:xfrm>
                    <a:off x="3120129" y="2379933"/>
                    <a:ext cx="1509700" cy="0"/>
                  </a:xfrm>
                  <a:prstGeom prst="straightConnector1">
                    <a:avLst/>
                  </a:prstGeom>
                  <a:solidFill>
                    <a:schemeClr val="accent1"/>
                  </a:solidFill>
                  <a:ln w="9525" cap="flat" cmpd="sng" algn="ctr">
                    <a:solidFill>
                      <a:schemeClr val="accent1"/>
                    </a:solidFill>
                    <a:prstDash val="sysDash"/>
                    <a:round/>
                    <a:headEnd type="none" w="med" len="med"/>
                    <a:tailEnd type="arrow"/>
                  </a:ln>
                  <a:effectLst/>
                </p:spPr>
              </p:cxnSp>
            </p:grpSp>
            <p:sp>
              <p:nvSpPr>
                <p:cNvPr id="44" name="Ovale 43"/>
                <p:cNvSpPr/>
                <p:nvPr/>
              </p:nvSpPr>
              <p:spPr bwMode="auto">
                <a:xfrm>
                  <a:off x="6318504" y="3226774"/>
                  <a:ext cx="252028" cy="216024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</p:grpSp>
          <p:grpSp>
            <p:nvGrpSpPr>
              <p:cNvPr id="2" name="Gruppo 1"/>
              <p:cNvGrpSpPr/>
              <p:nvPr/>
            </p:nvGrpSpPr>
            <p:grpSpPr>
              <a:xfrm>
                <a:off x="3807608" y="2012557"/>
                <a:ext cx="2259943" cy="2911994"/>
                <a:chOff x="3807608" y="2012557"/>
                <a:chExt cx="2259943" cy="2911994"/>
              </a:xfrm>
            </p:grpSpPr>
            <p:sp>
              <p:nvSpPr>
                <p:cNvPr id="34825" name="Ovale 34824"/>
                <p:cNvSpPr/>
                <p:nvPr/>
              </p:nvSpPr>
              <p:spPr bwMode="auto">
                <a:xfrm>
                  <a:off x="3807608" y="2012557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r>
                    <a:rPr lang="it-IT" sz="2031" dirty="0">
                      <a:solidFill>
                        <a:schemeClr val="bg1"/>
                      </a:solidFill>
                      <a:latin typeface="Arial" charset="0"/>
                    </a:rPr>
                    <a:t> </a:t>
                  </a:r>
                </a:p>
              </p:txBody>
            </p:sp>
            <p:sp>
              <p:nvSpPr>
                <p:cNvPr id="43" name="Ovale 42"/>
                <p:cNvSpPr/>
                <p:nvPr/>
              </p:nvSpPr>
              <p:spPr bwMode="auto">
                <a:xfrm>
                  <a:off x="3840842" y="2675642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45" name="Ovale 44"/>
                <p:cNvSpPr/>
                <p:nvPr/>
              </p:nvSpPr>
              <p:spPr bwMode="auto">
                <a:xfrm>
                  <a:off x="5820117" y="4050076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  <p:sp>
              <p:nvSpPr>
                <p:cNvPr id="46" name="Ovale 45"/>
                <p:cNvSpPr/>
                <p:nvPr/>
              </p:nvSpPr>
              <p:spPr bwMode="auto">
                <a:xfrm>
                  <a:off x="5834910" y="4725144"/>
                  <a:ext cx="232641" cy="199407"/>
                </a:xfrm>
                <a:prstGeom prst="ellipse">
                  <a:avLst/>
                </a:prstGeom>
                <a:solidFill>
                  <a:srgbClr val="FFC000"/>
                </a:solidFill>
                <a:ln w="9525" cap="flat" cmpd="sng" algn="ctr">
                  <a:solidFill>
                    <a:srgbClr val="FFC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83077" tIns="43200" rIns="83077" bIns="432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11723" indent="-11723" algn="ctr" defTabSz="844083" fontAlgn="base">
                    <a:spcBef>
                      <a:spcPct val="50000"/>
                    </a:spcBef>
                    <a:spcAft>
                      <a:spcPct val="0"/>
                    </a:spcAft>
                  </a:pPr>
                  <a:endParaRPr lang="it-IT" sz="2031">
                    <a:solidFill>
                      <a:schemeClr val="bg1"/>
                    </a:solidFill>
                    <a:latin typeface="Arial" charset="0"/>
                  </a:endParaRPr>
                </a:p>
              </p:txBody>
            </p:sp>
          </p:grpSp>
        </p:grpSp>
      </p:grpSp>
      <p:sp>
        <p:nvSpPr>
          <p:cNvPr id="34834" name="Rettangolo 34833"/>
          <p:cNvSpPr/>
          <p:nvPr/>
        </p:nvSpPr>
        <p:spPr bwMode="auto">
          <a:xfrm>
            <a:off x="185051" y="1780014"/>
            <a:ext cx="332345" cy="178192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1</a:t>
            </a:r>
          </a:p>
        </p:txBody>
      </p:sp>
      <p:sp>
        <p:nvSpPr>
          <p:cNvPr id="56" name="Rettangolo 55"/>
          <p:cNvSpPr/>
          <p:nvPr/>
        </p:nvSpPr>
        <p:spPr bwMode="auto">
          <a:xfrm>
            <a:off x="185051" y="3694876"/>
            <a:ext cx="332345" cy="1395847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2</a:t>
            </a:r>
          </a:p>
        </p:txBody>
      </p:sp>
      <p:sp>
        <p:nvSpPr>
          <p:cNvPr id="57" name="Rettangolo 56"/>
          <p:cNvSpPr/>
          <p:nvPr/>
        </p:nvSpPr>
        <p:spPr bwMode="auto">
          <a:xfrm>
            <a:off x="185051" y="5157192"/>
            <a:ext cx="332345" cy="997034"/>
          </a:xfrm>
          <a:prstGeom prst="rect">
            <a:avLst/>
          </a:prstGeom>
          <a:solidFill>
            <a:srgbClr val="FFC000"/>
          </a:solidFill>
          <a:ln w="9525" cap="flat" cmpd="sng" algn="ctr">
            <a:solidFill>
              <a:srgbClr val="FFCC2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r>
              <a:rPr lang="it-IT" sz="1108" dirty="0">
                <a:solidFill>
                  <a:srgbClr val="FF0000"/>
                </a:solidFill>
                <a:latin typeface="Neo Sans Std Medium"/>
              </a:rPr>
              <a:t>Obiettivo generale 3</a:t>
            </a:r>
          </a:p>
        </p:txBody>
      </p:sp>
      <p:sp>
        <p:nvSpPr>
          <p:cNvPr id="28" name="Rettangolo 27"/>
          <p:cNvSpPr/>
          <p:nvPr/>
        </p:nvSpPr>
        <p:spPr>
          <a:xfrm>
            <a:off x="0" y="579196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3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0014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uppo 4"/>
          <p:cNvGrpSpPr>
            <a:grpSpLocks/>
          </p:cNvGrpSpPr>
          <p:nvPr/>
        </p:nvGrpSpPr>
        <p:grpSpPr bwMode="auto">
          <a:xfrm>
            <a:off x="-5248" y="214968"/>
            <a:ext cx="9144000" cy="586409"/>
            <a:chOff x="45253" y="-36513"/>
            <a:chExt cx="9143999" cy="877993"/>
          </a:xfrm>
        </p:grpSpPr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88" t="21562" r="5663" b="66251"/>
            <a:stretch>
              <a:fillRect/>
            </a:stretch>
          </p:blipFill>
          <p:spPr bwMode="auto">
            <a:xfrm>
              <a:off x="45253" y="-16351"/>
              <a:ext cx="9143999" cy="8578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8" name="Picture 5" descr="jaune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3731" y="0"/>
              <a:ext cx="800100" cy="546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9" name="Picture 7" descr="stellone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7704" y="-36513"/>
              <a:ext cx="533400" cy="619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2" descr="Logo_POFesr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7784" y="0"/>
              <a:ext cx="827088" cy="69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1" name="Rettangolo 50"/>
          <p:cNvSpPr/>
          <p:nvPr/>
        </p:nvSpPr>
        <p:spPr>
          <a:xfrm>
            <a:off x="2200938" y="1258205"/>
            <a:ext cx="5171154" cy="433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215" b="1" dirty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Neo Sans Std Medium" pitchFamily="34" charset="0"/>
              </a:rPr>
              <a:t>Gli Strumenti del  Policy Mix ...</a:t>
            </a:r>
          </a:p>
        </p:txBody>
      </p:sp>
      <p:graphicFrame>
        <p:nvGraphicFramePr>
          <p:cNvPr id="109" name="Diagramma 108"/>
          <p:cNvGraphicFramePr/>
          <p:nvPr>
            <p:extLst/>
          </p:nvPr>
        </p:nvGraphicFramePr>
        <p:xfrm>
          <a:off x="71535" y="2661926"/>
          <a:ext cx="231906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114" name="Gruppo 113"/>
          <p:cNvGrpSpPr/>
          <p:nvPr/>
        </p:nvGrpSpPr>
        <p:grpSpPr>
          <a:xfrm>
            <a:off x="4211960" y="1691401"/>
            <a:ext cx="801225" cy="801225"/>
            <a:chOff x="5313040" y="1959577"/>
            <a:chExt cx="867994" cy="867994"/>
          </a:xfrm>
        </p:grpSpPr>
        <p:sp>
          <p:nvSpPr>
            <p:cNvPr id="112" name="Oval 45"/>
            <p:cNvSpPr/>
            <p:nvPr/>
          </p:nvSpPr>
          <p:spPr>
            <a:xfrm>
              <a:off x="5313040" y="1959577"/>
              <a:ext cx="867994" cy="867994"/>
            </a:xfrm>
            <a:prstGeom prst="ellipse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62"/>
            </a:p>
          </p:txBody>
        </p:sp>
        <p:sp>
          <p:nvSpPr>
            <p:cNvPr id="110" name="Freeform 10"/>
            <p:cNvSpPr>
              <a:spLocks noEditPoints="1"/>
            </p:cNvSpPr>
            <p:nvPr/>
          </p:nvSpPr>
          <p:spPr bwMode="auto">
            <a:xfrm>
              <a:off x="5547674" y="2195293"/>
              <a:ext cx="398726" cy="396562"/>
            </a:xfrm>
            <a:custGeom>
              <a:avLst/>
              <a:gdLst/>
              <a:ahLst/>
              <a:cxnLst>
                <a:cxn ang="0">
                  <a:pos x="24" y="31"/>
                </a:cxn>
                <a:cxn ang="0">
                  <a:pos x="4" y="11"/>
                </a:cxn>
                <a:cxn ang="0">
                  <a:pos x="4" y="8"/>
                </a:cxn>
                <a:cxn ang="0">
                  <a:pos x="6" y="8"/>
                </a:cxn>
                <a:cxn ang="0">
                  <a:pos x="26" y="28"/>
                </a:cxn>
                <a:cxn ang="0">
                  <a:pos x="28" y="27"/>
                </a:cxn>
                <a:cxn ang="0">
                  <a:pos x="8" y="7"/>
                </a:cxn>
                <a:cxn ang="0">
                  <a:pos x="8" y="4"/>
                </a:cxn>
                <a:cxn ang="0">
                  <a:pos x="10" y="4"/>
                </a:cxn>
                <a:cxn ang="0">
                  <a:pos x="31" y="24"/>
                </a:cxn>
                <a:cxn ang="0">
                  <a:pos x="33" y="22"/>
                </a:cxn>
                <a:cxn ang="0">
                  <a:pos x="14" y="3"/>
                </a:cxn>
                <a:cxn ang="0">
                  <a:pos x="4" y="4"/>
                </a:cxn>
                <a:cxn ang="0">
                  <a:pos x="3" y="13"/>
                </a:cxn>
                <a:cxn ang="0">
                  <a:pos x="22" y="33"/>
                </a:cxn>
                <a:cxn ang="0">
                  <a:pos x="24" y="31"/>
                </a:cxn>
                <a:cxn ang="0">
                  <a:pos x="71" y="67"/>
                </a:cxn>
                <a:cxn ang="0">
                  <a:pos x="65" y="59"/>
                </a:cxn>
                <a:cxn ang="0">
                  <a:pos x="63" y="59"/>
                </a:cxn>
                <a:cxn ang="0">
                  <a:pos x="63" y="59"/>
                </a:cxn>
                <a:cxn ang="0">
                  <a:pos x="46" y="42"/>
                </a:cxn>
                <a:cxn ang="0">
                  <a:pos x="42" y="46"/>
                </a:cxn>
                <a:cxn ang="0">
                  <a:pos x="59" y="63"/>
                </a:cxn>
                <a:cxn ang="0">
                  <a:pos x="60" y="63"/>
                </a:cxn>
                <a:cxn ang="0">
                  <a:pos x="59" y="65"/>
                </a:cxn>
                <a:cxn ang="0">
                  <a:pos x="67" y="70"/>
                </a:cxn>
                <a:cxn ang="0">
                  <a:pos x="69" y="69"/>
                </a:cxn>
                <a:cxn ang="0">
                  <a:pos x="71" y="67"/>
                </a:cxn>
                <a:cxn ang="0">
                  <a:pos x="51" y="34"/>
                </a:cxn>
                <a:cxn ang="0">
                  <a:pos x="64" y="30"/>
                </a:cxn>
                <a:cxn ang="0">
                  <a:pos x="66" y="11"/>
                </a:cxn>
                <a:cxn ang="0">
                  <a:pos x="55" y="22"/>
                </a:cxn>
                <a:cxn ang="0">
                  <a:pos x="50" y="17"/>
                </a:cxn>
                <a:cxn ang="0">
                  <a:pos x="61" y="6"/>
                </a:cxn>
                <a:cxn ang="0">
                  <a:pos x="42" y="8"/>
                </a:cxn>
                <a:cxn ang="0">
                  <a:pos x="38" y="21"/>
                </a:cxn>
                <a:cxn ang="0">
                  <a:pos x="36" y="22"/>
                </a:cxn>
                <a:cxn ang="0">
                  <a:pos x="6" y="52"/>
                </a:cxn>
                <a:cxn ang="0">
                  <a:pos x="6" y="65"/>
                </a:cxn>
                <a:cxn ang="0">
                  <a:pos x="20" y="65"/>
                </a:cxn>
                <a:cxn ang="0">
                  <a:pos x="49" y="36"/>
                </a:cxn>
                <a:cxn ang="0">
                  <a:pos x="51" y="34"/>
                </a:cxn>
                <a:cxn ang="0">
                  <a:pos x="16" y="60"/>
                </a:cxn>
                <a:cxn ang="0">
                  <a:pos x="12" y="60"/>
                </a:cxn>
                <a:cxn ang="0">
                  <a:pos x="12" y="55"/>
                </a:cxn>
                <a:cxn ang="0">
                  <a:pos x="16" y="55"/>
                </a:cxn>
                <a:cxn ang="0">
                  <a:pos x="16" y="60"/>
                </a:cxn>
              </a:cxnLst>
              <a:rect l="0" t="0" r="r" b="b"/>
              <a:pathLst>
                <a:path w="71" h="71">
                  <a:moveTo>
                    <a:pt x="24" y="31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3" y="10"/>
                    <a:pt x="3" y="9"/>
                    <a:pt x="4" y="8"/>
                  </a:cubicBezTo>
                  <a:cubicBezTo>
                    <a:pt x="4" y="7"/>
                    <a:pt x="6" y="7"/>
                    <a:pt x="6" y="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8" y="27"/>
                    <a:pt x="28" y="27"/>
                    <a:pt x="28" y="2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6"/>
                    <a:pt x="7" y="5"/>
                    <a:pt x="8" y="4"/>
                  </a:cubicBezTo>
                  <a:cubicBezTo>
                    <a:pt x="9" y="3"/>
                    <a:pt x="10" y="3"/>
                    <a:pt x="10" y="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1" y="0"/>
                    <a:pt x="7" y="1"/>
                    <a:pt x="4" y="4"/>
                  </a:cubicBezTo>
                  <a:cubicBezTo>
                    <a:pt x="1" y="7"/>
                    <a:pt x="0" y="11"/>
                    <a:pt x="3" y="13"/>
                  </a:cubicBezTo>
                  <a:cubicBezTo>
                    <a:pt x="22" y="33"/>
                    <a:pt x="22" y="33"/>
                    <a:pt x="22" y="33"/>
                  </a:cubicBezTo>
                  <a:lnTo>
                    <a:pt x="24" y="31"/>
                  </a:lnTo>
                  <a:close/>
                  <a:moveTo>
                    <a:pt x="71" y="67"/>
                  </a:moveTo>
                  <a:cubicBezTo>
                    <a:pt x="65" y="59"/>
                    <a:pt x="65" y="59"/>
                    <a:pt x="65" y="59"/>
                  </a:cubicBezTo>
                  <a:cubicBezTo>
                    <a:pt x="65" y="58"/>
                    <a:pt x="64" y="59"/>
                    <a:pt x="63" y="59"/>
                  </a:cubicBezTo>
                  <a:cubicBezTo>
                    <a:pt x="63" y="59"/>
                    <a:pt x="63" y="59"/>
                    <a:pt x="63" y="59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59" y="63"/>
                    <a:pt x="59" y="63"/>
                    <a:pt x="59" y="63"/>
                  </a:cubicBezTo>
                  <a:cubicBezTo>
                    <a:pt x="59" y="63"/>
                    <a:pt x="59" y="63"/>
                    <a:pt x="60" y="63"/>
                  </a:cubicBezTo>
                  <a:cubicBezTo>
                    <a:pt x="59" y="64"/>
                    <a:pt x="59" y="65"/>
                    <a:pt x="59" y="65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8" y="71"/>
                    <a:pt x="69" y="70"/>
                    <a:pt x="69" y="69"/>
                  </a:cubicBezTo>
                  <a:cubicBezTo>
                    <a:pt x="70" y="68"/>
                    <a:pt x="71" y="67"/>
                    <a:pt x="71" y="67"/>
                  </a:cubicBezTo>
                  <a:close/>
                  <a:moveTo>
                    <a:pt x="51" y="34"/>
                  </a:moveTo>
                  <a:cubicBezTo>
                    <a:pt x="55" y="35"/>
                    <a:pt x="60" y="33"/>
                    <a:pt x="64" y="30"/>
                  </a:cubicBezTo>
                  <a:cubicBezTo>
                    <a:pt x="69" y="25"/>
                    <a:pt x="70" y="17"/>
                    <a:pt x="66" y="11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61" y="6"/>
                    <a:pt x="61" y="6"/>
                    <a:pt x="61" y="6"/>
                  </a:cubicBezTo>
                  <a:cubicBezTo>
                    <a:pt x="55" y="2"/>
                    <a:pt x="47" y="3"/>
                    <a:pt x="42" y="8"/>
                  </a:cubicBezTo>
                  <a:cubicBezTo>
                    <a:pt x="39" y="11"/>
                    <a:pt x="37" y="16"/>
                    <a:pt x="38" y="21"/>
                  </a:cubicBezTo>
                  <a:cubicBezTo>
                    <a:pt x="37" y="21"/>
                    <a:pt x="36" y="22"/>
                    <a:pt x="36" y="2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3" y="55"/>
                    <a:pt x="3" y="62"/>
                    <a:pt x="6" y="65"/>
                  </a:cubicBezTo>
                  <a:cubicBezTo>
                    <a:pt x="10" y="69"/>
                    <a:pt x="16" y="69"/>
                    <a:pt x="20" y="6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50" y="35"/>
                    <a:pt x="51" y="35"/>
                    <a:pt x="51" y="34"/>
                  </a:cubicBezTo>
                  <a:close/>
                  <a:moveTo>
                    <a:pt x="16" y="60"/>
                  </a:moveTo>
                  <a:cubicBezTo>
                    <a:pt x="15" y="61"/>
                    <a:pt x="13" y="61"/>
                    <a:pt x="12" y="60"/>
                  </a:cubicBezTo>
                  <a:cubicBezTo>
                    <a:pt x="11" y="59"/>
                    <a:pt x="11" y="57"/>
                    <a:pt x="12" y="55"/>
                  </a:cubicBezTo>
                  <a:cubicBezTo>
                    <a:pt x="13" y="54"/>
                    <a:pt x="15" y="54"/>
                    <a:pt x="16" y="55"/>
                  </a:cubicBezTo>
                  <a:cubicBezTo>
                    <a:pt x="18" y="57"/>
                    <a:pt x="18" y="59"/>
                    <a:pt x="16" y="6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id-ID" sz="1662">
                <a:latin typeface="Calibri" charset="0"/>
                <a:ea typeface="ＭＳ Ｐゴシック" charset="0"/>
                <a:cs typeface="ＭＳ Ｐゴシック" charset="0"/>
              </a:endParaRPr>
            </a:p>
          </p:txBody>
        </p:sp>
      </p:grpSp>
      <p:graphicFrame>
        <p:nvGraphicFramePr>
          <p:cNvPr id="115" name="Diagramma 114"/>
          <p:cNvGraphicFramePr/>
          <p:nvPr>
            <p:extLst>
              <p:ext uri="{D42A27DB-BD31-4B8C-83A1-F6EECF244321}">
                <p14:modId xmlns:p14="http://schemas.microsoft.com/office/powerpoint/2010/main" val="2960415694"/>
              </p:ext>
            </p:extLst>
          </p:nvPr>
        </p:nvGraphicFramePr>
        <p:xfrm>
          <a:off x="101101" y="3500733"/>
          <a:ext cx="2324358" cy="659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116" name="Diagramma 115"/>
          <p:cNvGraphicFramePr/>
          <p:nvPr>
            <p:extLst/>
          </p:nvPr>
        </p:nvGraphicFramePr>
        <p:xfrm>
          <a:off x="3109684" y="2459688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aphicFrame>
        <p:nvGraphicFramePr>
          <p:cNvPr id="117" name="Diagramma 116"/>
          <p:cNvGraphicFramePr/>
          <p:nvPr>
            <p:extLst/>
          </p:nvPr>
        </p:nvGraphicFramePr>
        <p:xfrm>
          <a:off x="3109684" y="3113603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graphicFrame>
        <p:nvGraphicFramePr>
          <p:cNvPr id="118" name="Diagramma 117"/>
          <p:cNvGraphicFramePr/>
          <p:nvPr>
            <p:extLst/>
          </p:nvPr>
        </p:nvGraphicFramePr>
        <p:xfrm>
          <a:off x="6241059" y="1864299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7" r:lo="rId28" r:qs="rId29" r:cs="rId30"/>
          </a:graphicData>
        </a:graphic>
      </p:graphicFrame>
      <p:graphicFrame>
        <p:nvGraphicFramePr>
          <p:cNvPr id="119" name="Diagramma 118"/>
          <p:cNvGraphicFramePr/>
          <p:nvPr>
            <p:extLst/>
          </p:nvPr>
        </p:nvGraphicFramePr>
        <p:xfrm>
          <a:off x="6249347" y="2498436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2" r:lo="rId33" r:qs="rId34" r:cs="rId35"/>
          </a:graphicData>
        </a:graphic>
      </p:graphicFrame>
      <p:graphicFrame>
        <p:nvGraphicFramePr>
          <p:cNvPr id="120" name="Diagramma 119"/>
          <p:cNvGraphicFramePr/>
          <p:nvPr>
            <p:extLst>
              <p:ext uri="{D42A27DB-BD31-4B8C-83A1-F6EECF244321}">
                <p14:modId xmlns:p14="http://schemas.microsoft.com/office/powerpoint/2010/main" val="201839667"/>
              </p:ext>
            </p:extLst>
          </p:nvPr>
        </p:nvGraphicFramePr>
        <p:xfrm>
          <a:off x="8182" y="4190712"/>
          <a:ext cx="27026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7" r:lo="rId38" r:qs="rId39" r:cs="rId40"/>
          </a:graphicData>
        </a:graphic>
      </p:graphicFrame>
      <p:graphicFrame>
        <p:nvGraphicFramePr>
          <p:cNvPr id="121" name="Diagramma 120"/>
          <p:cNvGraphicFramePr/>
          <p:nvPr>
            <p:extLst>
              <p:ext uri="{D42A27DB-BD31-4B8C-83A1-F6EECF244321}">
                <p14:modId xmlns:p14="http://schemas.microsoft.com/office/powerpoint/2010/main" val="4084386465"/>
              </p:ext>
            </p:extLst>
          </p:nvPr>
        </p:nvGraphicFramePr>
        <p:xfrm>
          <a:off x="6249347" y="3229594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2" r:lo="rId43" r:qs="rId44" r:cs="rId45"/>
          </a:graphicData>
        </a:graphic>
      </p:graphicFrame>
      <p:graphicFrame>
        <p:nvGraphicFramePr>
          <p:cNvPr id="122" name="Diagramma 121"/>
          <p:cNvGraphicFramePr/>
          <p:nvPr>
            <p:extLst/>
          </p:nvPr>
        </p:nvGraphicFramePr>
        <p:xfrm>
          <a:off x="3109684" y="3827814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7" r:lo="rId48" r:qs="rId49" r:cs="rId50"/>
          </a:graphicData>
        </a:graphic>
      </p:graphicFrame>
      <p:graphicFrame>
        <p:nvGraphicFramePr>
          <p:cNvPr id="123" name="Diagramma 122"/>
          <p:cNvGraphicFramePr/>
          <p:nvPr>
            <p:extLst/>
          </p:nvPr>
        </p:nvGraphicFramePr>
        <p:xfrm>
          <a:off x="3109684" y="4492503"/>
          <a:ext cx="2518483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2" r:lo="rId53" r:qs="rId54" r:cs="rId55"/>
          </a:graphicData>
        </a:graphic>
      </p:graphicFrame>
      <p:graphicFrame>
        <p:nvGraphicFramePr>
          <p:cNvPr id="124" name="Diagramma 123"/>
          <p:cNvGraphicFramePr/>
          <p:nvPr>
            <p:extLst/>
          </p:nvPr>
        </p:nvGraphicFramePr>
        <p:xfrm>
          <a:off x="6249347" y="4027221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7" r:lo="rId58" r:qs="rId59" r:cs="rId60"/>
          </a:graphicData>
        </a:graphic>
      </p:graphicFrame>
      <p:graphicFrame>
        <p:nvGraphicFramePr>
          <p:cNvPr id="125" name="Diagramma 124"/>
          <p:cNvGraphicFramePr/>
          <p:nvPr>
            <p:extLst/>
          </p:nvPr>
        </p:nvGraphicFramePr>
        <p:xfrm>
          <a:off x="67088" y="1997237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2" r:lo="rId63" r:qs="rId64" r:cs="rId65"/>
          </a:graphicData>
        </a:graphic>
      </p:graphicFrame>
      <p:graphicFrame>
        <p:nvGraphicFramePr>
          <p:cNvPr id="126" name="Diagramma 125"/>
          <p:cNvGraphicFramePr/>
          <p:nvPr>
            <p:extLst/>
          </p:nvPr>
        </p:nvGraphicFramePr>
        <p:xfrm>
          <a:off x="8182" y="4988339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7" r:lo="rId68" r:qs="rId69" r:cs="rId70"/>
          </a:graphicData>
        </a:graphic>
      </p:graphicFrame>
      <p:graphicFrame>
        <p:nvGraphicFramePr>
          <p:cNvPr id="127" name="Diagramma 126"/>
          <p:cNvGraphicFramePr/>
          <p:nvPr>
            <p:extLst/>
          </p:nvPr>
        </p:nvGraphicFramePr>
        <p:xfrm>
          <a:off x="3109684" y="5024255"/>
          <a:ext cx="2510195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2" r:lo="rId73" r:qs="rId74" r:cs="rId75"/>
          </a:graphicData>
        </a:graphic>
      </p:graphicFrame>
      <p:graphicFrame>
        <p:nvGraphicFramePr>
          <p:cNvPr id="128" name="Diagramma 127"/>
          <p:cNvGraphicFramePr/>
          <p:nvPr>
            <p:extLst/>
          </p:nvPr>
        </p:nvGraphicFramePr>
        <p:xfrm>
          <a:off x="6233723" y="4691910"/>
          <a:ext cx="25922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7" r:lo="rId78" r:qs="rId79" r:cs="rId80"/>
          </a:graphicData>
        </a:graphic>
      </p:graphicFrame>
      <p:graphicFrame>
        <p:nvGraphicFramePr>
          <p:cNvPr id="129" name="Diagramma 128"/>
          <p:cNvGraphicFramePr/>
          <p:nvPr>
            <p:extLst/>
          </p:nvPr>
        </p:nvGraphicFramePr>
        <p:xfrm>
          <a:off x="6233723" y="5423068"/>
          <a:ext cx="2592288" cy="7670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2" r:lo="rId83" r:qs="rId84" r:cs="rId85"/>
          </a:graphicData>
        </a:graphic>
      </p:graphicFrame>
      <p:sp>
        <p:nvSpPr>
          <p:cNvPr id="28" name="Rettangolo 27"/>
          <p:cNvSpPr/>
          <p:nvPr/>
        </p:nvSpPr>
        <p:spPr>
          <a:xfrm>
            <a:off x="0" y="812431"/>
            <a:ext cx="90364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A che punto è la definizione della RIS 3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Sicilia</a:t>
            </a:r>
            <a:r>
              <a:rPr lang="it-IT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it-IT" b="1" dirty="0" smtClean="0">
                <a:solidFill>
                  <a:schemeClr val="accent1">
                    <a:lumMod val="75000"/>
                  </a:schemeClr>
                </a:solidFill>
              </a:rPr>
              <a:t>(4)  </a:t>
            </a: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8611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Diagramma 9"/>
          <p:cNvGraphicFramePr/>
          <p:nvPr>
            <p:extLst>
              <p:ext uri="{D42A27DB-BD31-4B8C-83A1-F6EECF244321}">
                <p14:modId xmlns:p14="http://schemas.microsoft.com/office/powerpoint/2010/main" val="2270780091"/>
              </p:ext>
            </p:extLst>
          </p:nvPr>
        </p:nvGraphicFramePr>
        <p:xfrm>
          <a:off x="2898153" y="1340768"/>
          <a:ext cx="4053175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0" name="Rettangolo 19"/>
          <p:cNvSpPr/>
          <p:nvPr/>
        </p:nvSpPr>
        <p:spPr>
          <a:xfrm>
            <a:off x="2339752" y="3795220"/>
            <a:ext cx="5400600" cy="208205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spcFirstLastPara="0" vert="horz" wrap="square" lIns="45720" tIns="45720" rIns="45720" bIns="45720" numCol="1" spcCol="1270" anchor="t" anchorCtr="0">
            <a:noAutofit/>
          </a:bodyPr>
          <a:lstStyle/>
          <a:p>
            <a:pPr algn="just"/>
            <a:r>
              <a:rPr lang="it-IT" sz="1600" i="1" dirty="0"/>
              <a:t>Dei 12 ambiti tematici individuati dai tavoli nazionali (economia del mare, mobilità sostenibile, scienze della vita, beni culturali, chimica verde, </a:t>
            </a:r>
            <a:r>
              <a:rPr lang="it-IT" sz="1600" i="1" dirty="0" err="1"/>
              <a:t>smart</a:t>
            </a:r>
            <a:r>
              <a:rPr lang="it-IT" sz="1600" i="1" dirty="0"/>
              <a:t> cities and </a:t>
            </a:r>
            <a:r>
              <a:rPr lang="it-IT" sz="1600" i="1" dirty="0" err="1"/>
              <a:t>communities</a:t>
            </a:r>
            <a:r>
              <a:rPr lang="it-IT" sz="1600" i="1" dirty="0"/>
              <a:t>, tecnologie per gli ambienti di vita, </a:t>
            </a:r>
            <a:r>
              <a:rPr lang="it-IT" sz="1600" i="1" dirty="0" err="1"/>
              <a:t>agrifood</a:t>
            </a:r>
            <a:r>
              <a:rPr lang="it-IT" sz="1600" i="1" dirty="0"/>
              <a:t>, energia, innovazione non basata su ricerca e sviluppo, fabbrica intelligente e aerospazio) sono stati ricondotti all’interno del tavolo denominato </a:t>
            </a:r>
            <a:r>
              <a:rPr lang="it-IT" sz="1600" dirty="0"/>
              <a:t>Economia del Mare”, gli ambiti: </a:t>
            </a:r>
            <a:r>
              <a:rPr lang="it-IT" sz="1600" b="1" dirty="0"/>
              <a:t>Economia del Mare, tecnologie per gli Ambienti di Vita</a:t>
            </a:r>
            <a:r>
              <a:rPr lang="it-IT" sz="1600" dirty="0"/>
              <a:t>. </a:t>
            </a:r>
            <a:endParaRPr lang="it-IT" sz="1600" i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9832" y="2405608"/>
            <a:ext cx="3559175" cy="1182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0576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3163694039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Diagramma 7"/>
          <p:cNvGraphicFramePr/>
          <p:nvPr>
            <p:extLst>
              <p:ext uri="{D42A27DB-BD31-4B8C-83A1-F6EECF244321}">
                <p14:modId xmlns:p14="http://schemas.microsoft.com/office/powerpoint/2010/main" val="1735085198"/>
              </p:ext>
            </p:extLst>
          </p:nvPr>
        </p:nvGraphicFramePr>
        <p:xfrm>
          <a:off x="251520" y="1988840"/>
          <a:ext cx="5832648" cy="30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1" name="Rettangolo 10"/>
          <p:cNvSpPr/>
          <p:nvPr/>
        </p:nvSpPr>
        <p:spPr>
          <a:xfrm>
            <a:off x="4672017" y="6165304"/>
            <a:ext cx="3213700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2000" b="1" cap="none" spc="0" dirty="0" smtClean="0">
                <a:ln w="12700">
                  <a:solidFill>
                    <a:schemeClr val="accent1"/>
                  </a:solidFill>
                  <a:prstDash val="solid"/>
                </a:ln>
                <a:pattFill prst="pct50">
                  <a:fgClr>
                    <a:schemeClr val="accent1"/>
                  </a:fgClr>
                  <a:bgClr>
                    <a:schemeClr val="accent1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accent1"/>
                  </a:outerShdw>
                </a:effectLst>
              </a:rPr>
              <a:t>Aggiornato al 7 maggio 2014</a:t>
            </a:r>
            <a:endParaRPr lang="it-IT" sz="2000" b="1" cap="none" spc="0" dirty="0">
              <a:ln w="12700">
                <a:solidFill>
                  <a:schemeClr val="accent1"/>
                </a:solidFill>
                <a:prstDash val="solid"/>
              </a:ln>
              <a:pattFill prst="pct50">
                <a:fgClr>
                  <a:schemeClr val="accent1"/>
                </a:fgClr>
                <a:bgClr>
                  <a:schemeClr val="accent1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accent1"/>
                </a:outerShdw>
              </a:effectLst>
            </a:endParaRPr>
          </a:p>
        </p:txBody>
      </p:sp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1842481"/>
              </p:ext>
            </p:extLst>
          </p:nvPr>
        </p:nvGraphicFramePr>
        <p:xfrm>
          <a:off x="6084168" y="3310092"/>
          <a:ext cx="2984500" cy="2857500"/>
        </p:xfrm>
        <a:graphic>
          <a:graphicData uri="http://schemas.openxmlformats.org/drawingml/2006/table">
            <a:tbl>
              <a:tblPr/>
              <a:tblGrid>
                <a:gridCol w="1880871"/>
                <a:gridCol w="622347"/>
                <a:gridCol w="481282"/>
              </a:tblGrid>
              <a:tr h="198120">
                <a:tc>
                  <a:txBody>
                    <a:bodyPr/>
                    <a:lstStyle/>
                    <a:p>
                      <a:pPr algn="l" fontAlgn="b"/>
                      <a:endParaRPr lang="it-IT" sz="10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ARTECIPANTI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9812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IPOLOGI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N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NR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RES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UNIVERSITA'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18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N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STRETT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4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SOCIAZIONE SPORTIV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NTRO STUDI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ENTRO SVILUPPO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EA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SPERTO BREVETTI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CUBATORE</a:t>
                      </a:r>
                    </a:p>
                  </a:txBody>
                  <a:tcPr marL="11430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0" i="0" u="none" strike="noStrike">
                          <a:effectLst/>
                          <a:latin typeface="Arial" panose="020B0604020202020204" pitchFamily="34" charset="0"/>
                        </a:rPr>
                        <a:t>2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11430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2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ABABA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D7D3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126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a 8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2387566059"/>
              </p:ext>
            </p:extLst>
          </p:nvPr>
        </p:nvGraphicFramePr>
        <p:xfrm>
          <a:off x="1763688" y="1484784"/>
          <a:ext cx="6048672" cy="45463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2890829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a 8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3855839021"/>
              </p:ext>
            </p:extLst>
          </p:nvPr>
        </p:nvGraphicFramePr>
        <p:xfrm>
          <a:off x="1259632" y="1582341"/>
          <a:ext cx="6768752" cy="42229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</p:spTree>
    <p:extLst>
      <p:ext uri="{BB962C8B-B14F-4D97-AF65-F5344CB8AC3E}">
        <p14:creationId xmlns:p14="http://schemas.microsoft.com/office/powerpoint/2010/main" val="137079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a 8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2038929958"/>
              </p:ext>
            </p:extLst>
          </p:nvPr>
        </p:nvGraphicFramePr>
        <p:xfrm>
          <a:off x="2286000" y="1997839"/>
          <a:ext cx="4572000" cy="2862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6" name="Freccia in su 5"/>
          <p:cNvSpPr/>
          <p:nvPr/>
        </p:nvSpPr>
        <p:spPr>
          <a:xfrm rot="2445946">
            <a:off x="1093414" y="5063405"/>
            <a:ext cx="864096" cy="1296144"/>
          </a:xfrm>
          <a:prstGeom prst="up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Freccia in su 7"/>
          <p:cNvSpPr/>
          <p:nvPr/>
        </p:nvSpPr>
        <p:spPr>
          <a:xfrm rot="19089525">
            <a:off x="6980012" y="5078350"/>
            <a:ext cx="864096" cy="1296144"/>
          </a:xfrm>
          <a:prstGeom prst="up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/>
          <p:cNvSpPr txBox="1"/>
          <p:nvPr/>
        </p:nvSpPr>
        <p:spPr>
          <a:xfrm>
            <a:off x="2843808" y="1484784"/>
            <a:ext cx="35980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 smtClean="0"/>
              <a:t>ECONOMIA DEL MARE verso il 2020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311335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a 8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2563064656"/>
              </p:ext>
            </p:extLst>
          </p:nvPr>
        </p:nvGraphicFramePr>
        <p:xfrm>
          <a:off x="1691680" y="1997839"/>
          <a:ext cx="5720380" cy="28623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6" name="Freccia in su 5"/>
          <p:cNvSpPr/>
          <p:nvPr/>
        </p:nvSpPr>
        <p:spPr>
          <a:xfrm rot="2445946">
            <a:off x="1093414" y="5063405"/>
            <a:ext cx="864096" cy="1296144"/>
          </a:xfrm>
          <a:prstGeom prst="up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Freccia in su 7"/>
          <p:cNvSpPr/>
          <p:nvPr/>
        </p:nvSpPr>
        <p:spPr>
          <a:xfrm rot="19089525">
            <a:off x="6980012" y="5078350"/>
            <a:ext cx="864096" cy="1296144"/>
          </a:xfrm>
          <a:prstGeom prst="upArrow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7922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2617934201"/>
              </p:ext>
            </p:extLst>
          </p:nvPr>
        </p:nvGraphicFramePr>
        <p:xfrm>
          <a:off x="1763688" y="2348880"/>
          <a:ext cx="5976664" cy="28158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ma 2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5" name="Rettangolo 4"/>
          <p:cNvSpPr/>
          <p:nvPr/>
        </p:nvSpPr>
        <p:spPr>
          <a:xfrm>
            <a:off x="2807804" y="1428677"/>
            <a:ext cx="35283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it-IT" b="1" dirty="0">
                <a:solidFill>
                  <a:prstClr val="black"/>
                </a:solidFill>
              </a:rPr>
              <a:t>I trend evolutivi del mercato sono: </a:t>
            </a:r>
          </a:p>
        </p:txBody>
      </p:sp>
    </p:spTree>
    <p:extLst>
      <p:ext uri="{BB962C8B-B14F-4D97-AF65-F5344CB8AC3E}">
        <p14:creationId xmlns:p14="http://schemas.microsoft.com/office/powerpoint/2010/main" val="199032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3571315630"/>
              </p:ext>
            </p:extLst>
          </p:nvPr>
        </p:nvGraphicFramePr>
        <p:xfrm>
          <a:off x="1907704" y="2276872"/>
          <a:ext cx="5976664" cy="3816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ma 2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5" name="Rettangolo 4"/>
          <p:cNvSpPr/>
          <p:nvPr/>
        </p:nvSpPr>
        <p:spPr>
          <a:xfrm>
            <a:off x="2051720" y="1613343"/>
            <a:ext cx="54006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it-IT" b="1" dirty="0" smtClean="0">
                <a:solidFill>
                  <a:prstClr val="black"/>
                </a:solidFill>
              </a:rPr>
              <a:t> </a:t>
            </a:r>
            <a:r>
              <a:rPr lang="it-IT" b="1" dirty="0">
                <a:solidFill>
                  <a:prstClr val="black"/>
                </a:solidFill>
              </a:rPr>
              <a:t>Le principali linee di ricerca a livello nazionale sono: </a:t>
            </a:r>
          </a:p>
        </p:txBody>
      </p:sp>
    </p:spTree>
    <p:extLst>
      <p:ext uri="{BB962C8B-B14F-4D97-AF65-F5344CB8AC3E}">
        <p14:creationId xmlns:p14="http://schemas.microsoft.com/office/powerpoint/2010/main" val="3409631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ma 8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21" name="Gruppo 20"/>
          <p:cNvGrpSpPr/>
          <p:nvPr/>
        </p:nvGrpSpPr>
        <p:grpSpPr>
          <a:xfrm>
            <a:off x="395536" y="1679132"/>
            <a:ext cx="8476206" cy="4198140"/>
            <a:chOff x="107504" y="1628800"/>
            <a:chExt cx="8476206" cy="3255461"/>
          </a:xfrm>
        </p:grpSpPr>
        <p:graphicFrame>
          <p:nvGraphicFramePr>
            <p:cNvPr id="13" name="Diagramma 12"/>
            <p:cNvGraphicFramePr/>
            <p:nvPr>
              <p:extLst>
                <p:ext uri="{D42A27DB-BD31-4B8C-83A1-F6EECF244321}">
                  <p14:modId xmlns:p14="http://schemas.microsoft.com/office/powerpoint/2010/main" val="743592128"/>
                </p:ext>
              </p:extLst>
            </p:nvPr>
          </p:nvGraphicFramePr>
          <p:xfrm>
            <a:off x="5101083" y="3153257"/>
            <a:ext cx="2677588" cy="147732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graphicFrame>
          <p:nvGraphicFramePr>
            <p:cNvPr id="10" name="Diagramma 9"/>
            <p:cNvGraphicFramePr/>
            <p:nvPr>
              <p:extLst>
                <p:ext uri="{D42A27DB-BD31-4B8C-83A1-F6EECF244321}">
                  <p14:modId xmlns:p14="http://schemas.microsoft.com/office/powerpoint/2010/main" val="3225268079"/>
                </p:ext>
              </p:extLst>
            </p:nvPr>
          </p:nvGraphicFramePr>
          <p:xfrm>
            <a:off x="107504" y="1628800"/>
            <a:ext cx="3528392" cy="92333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7" r:lo="rId18" r:qs="rId19" r:cs="rId20"/>
            </a:graphicData>
          </a:graphic>
        </p:graphicFrame>
        <p:graphicFrame>
          <p:nvGraphicFramePr>
            <p:cNvPr id="12" name="Diagramma 11"/>
            <p:cNvGraphicFramePr/>
            <p:nvPr>
              <p:extLst>
                <p:ext uri="{D42A27DB-BD31-4B8C-83A1-F6EECF244321}">
                  <p14:modId xmlns:p14="http://schemas.microsoft.com/office/powerpoint/2010/main" val="465483453"/>
                </p:ext>
              </p:extLst>
            </p:nvPr>
          </p:nvGraphicFramePr>
          <p:xfrm>
            <a:off x="251520" y="2852936"/>
            <a:ext cx="3600400" cy="203132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2" r:lo="rId23" r:qs="rId24" r:cs="rId25"/>
            </a:graphicData>
          </a:graphic>
        </p:graphicFrame>
        <p:grpSp>
          <p:nvGrpSpPr>
            <p:cNvPr id="15" name="Gruppo 14"/>
            <p:cNvGrpSpPr/>
            <p:nvPr/>
          </p:nvGrpSpPr>
          <p:grpSpPr>
            <a:xfrm>
              <a:off x="5055318" y="1646257"/>
              <a:ext cx="3528392" cy="926519"/>
              <a:chOff x="0" y="86439"/>
              <a:chExt cx="3528392" cy="926519"/>
            </a:xfrm>
          </p:grpSpPr>
          <p:sp>
            <p:nvSpPr>
              <p:cNvPr id="17" name="Rettangolo arrotondato 16"/>
              <p:cNvSpPr/>
              <p:nvPr/>
            </p:nvSpPr>
            <p:spPr>
              <a:xfrm>
                <a:off x="0" y="133118"/>
                <a:ext cx="3528392" cy="879840"/>
              </a:xfrm>
              <a:prstGeom prst="round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9" name="Rettangolo 18"/>
              <p:cNvSpPr/>
              <p:nvPr/>
            </p:nvSpPr>
            <p:spPr>
              <a:xfrm>
                <a:off x="42950" y="86439"/>
                <a:ext cx="3442492" cy="79394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0960" tIns="60960" rIns="60960" bIns="60960" numCol="1" spcCol="1270" anchor="ctr" anchorCtr="0">
                <a:noAutofit/>
              </a:bodyPr>
              <a:lstStyle/>
              <a:p>
                <a:r>
                  <a:rPr lang="it-IT" sz="1600" dirty="0"/>
                  <a:t>Che agiscono in collaborazione con le principali industrie del settore: </a:t>
                </a:r>
              </a:p>
            </p:txBody>
          </p:sp>
        </p:grpSp>
        <p:cxnSp>
          <p:nvCxnSpPr>
            <p:cNvPr id="20" name="Connettore 2 19"/>
            <p:cNvCxnSpPr/>
            <p:nvPr/>
          </p:nvCxnSpPr>
          <p:spPr>
            <a:xfrm>
              <a:off x="3851920" y="2132856"/>
              <a:ext cx="1008112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38570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1142320213"/>
              </p:ext>
            </p:extLst>
          </p:nvPr>
        </p:nvGraphicFramePr>
        <p:xfrm>
          <a:off x="2627784" y="1412776"/>
          <a:ext cx="4104456" cy="7200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Diagramma 2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3477479144"/>
              </p:ext>
            </p:extLst>
          </p:nvPr>
        </p:nvGraphicFramePr>
        <p:xfrm>
          <a:off x="1763688" y="2708920"/>
          <a:ext cx="6264696" cy="11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pSp>
        <p:nvGrpSpPr>
          <p:cNvPr id="10" name="Gruppo 9"/>
          <p:cNvGrpSpPr/>
          <p:nvPr/>
        </p:nvGrpSpPr>
        <p:grpSpPr>
          <a:xfrm>
            <a:off x="1691680" y="4077072"/>
            <a:ext cx="6552728" cy="1960478"/>
            <a:chOff x="1979712" y="4077072"/>
            <a:chExt cx="6048672" cy="1960478"/>
          </a:xfrm>
        </p:grpSpPr>
        <p:graphicFrame>
          <p:nvGraphicFramePr>
            <p:cNvPr id="7" name="Diagramma 6"/>
            <p:cNvGraphicFramePr/>
            <p:nvPr>
              <p:extLst>
                <p:ext uri="{D42A27DB-BD31-4B8C-83A1-F6EECF244321}">
                  <p14:modId xmlns:p14="http://schemas.microsoft.com/office/powerpoint/2010/main" val="1007575257"/>
                </p:ext>
              </p:extLst>
            </p:nvPr>
          </p:nvGraphicFramePr>
          <p:xfrm>
            <a:off x="1979712" y="4437112"/>
            <a:ext cx="6048672" cy="1600438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2" r:lo="rId23" r:qs="rId24" r:cs="rId25"/>
            </a:graphicData>
          </a:graphic>
        </p:graphicFrame>
        <p:graphicFrame>
          <p:nvGraphicFramePr>
            <p:cNvPr id="9" name="Diagramma 8"/>
            <p:cNvGraphicFramePr/>
            <p:nvPr>
              <p:extLst>
                <p:ext uri="{D42A27DB-BD31-4B8C-83A1-F6EECF244321}">
                  <p14:modId xmlns:p14="http://schemas.microsoft.com/office/powerpoint/2010/main" val="686004745"/>
                </p:ext>
              </p:extLst>
            </p:nvPr>
          </p:nvGraphicFramePr>
          <p:xfrm>
            <a:off x="1979712" y="4077072"/>
            <a:ext cx="1944216" cy="36933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7" r:lo="rId28" r:qs="rId29" r:cs="rId30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923708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a 4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ma 8"/>
          <p:cNvGraphicFramePr/>
          <p:nvPr>
            <p:extLst>
              <p:ext uri="{D42A27DB-BD31-4B8C-83A1-F6EECF244321}">
                <p14:modId xmlns:p14="http://schemas.microsoft.com/office/powerpoint/2010/main" val="2322057321"/>
              </p:ext>
            </p:extLst>
          </p:nvPr>
        </p:nvGraphicFramePr>
        <p:xfrm>
          <a:off x="899592" y="3284984"/>
          <a:ext cx="7632848" cy="27363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sp>
        <p:nvSpPr>
          <p:cNvPr id="2" name="Rettangolo 1"/>
          <p:cNvSpPr/>
          <p:nvPr/>
        </p:nvSpPr>
        <p:spPr>
          <a:xfrm>
            <a:off x="408328" y="1700808"/>
            <a:ext cx="826812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600" dirty="0" smtClean="0"/>
              <a:t>Il PON REC in Sicilia ha finanziato 13 progetti di ricerca industriale e 8 di formazione sul tema della Logistica e dei Trasporti, tutti direttamente riconducibili o con ricadute in termini di tecnologie e competenze innovate, all’ambito dell’Economia del Mare, per un contributo pari ad oltre </a:t>
            </a:r>
            <a:r>
              <a:rPr lang="it-IT" sz="1600" b="1" dirty="0" smtClean="0"/>
              <a:t>94 M</a:t>
            </a:r>
            <a:r>
              <a:rPr lang="it-IT" sz="1600" dirty="0" smtClean="0"/>
              <a:t> euro. Inoltre ha finanziato 4 laboratori sulle tecnologie navali, per un contributo pubblico pari ad oltre </a:t>
            </a:r>
            <a:r>
              <a:rPr lang="it-IT" sz="1600" b="1" dirty="0" smtClean="0"/>
              <a:t>10 M</a:t>
            </a:r>
            <a:r>
              <a:rPr lang="it-IT" sz="1600" dirty="0" smtClean="0"/>
              <a:t>euro</a:t>
            </a:r>
            <a:endParaRPr lang="it-IT" sz="1600" b="1" dirty="0"/>
          </a:p>
        </p:txBody>
      </p:sp>
    </p:spTree>
    <p:extLst>
      <p:ext uri="{BB962C8B-B14F-4D97-AF65-F5344CB8AC3E}">
        <p14:creationId xmlns:p14="http://schemas.microsoft.com/office/powerpoint/2010/main" val="1250587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a 4"/>
          <p:cNvGraphicFramePr/>
          <p:nvPr>
            <p:extLst/>
          </p:nvPr>
        </p:nvGraphicFramePr>
        <p:xfrm>
          <a:off x="107504" y="692696"/>
          <a:ext cx="252028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2428697457"/>
              </p:ext>
            </p:extLst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3231337914"/>
              </p:ext>
            </p:extLst>
          </p:nvPr>
        </p:nvGraphicFramePr>
        <p:xfrm>
          <a:off x="3131840" y="2348880"/>
          <a:ext cx="3168352" cy="2197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Rettangolo 1"/>
          <p:cNvSpPr/>
          <p:nvPr/>
        </p:nvSpPr>
        <p:spPr>
          <a:xfrm>
            <a:off x="1691680" y="1741458"/>
            <a:ext cx="70567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it-IT" b="1" dirty="0"/>
              <a:t>Appare opportuno rilevare la presenza dei seguenti Distretti: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4484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3297305208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2030654452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591164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2854158267"/>
              </p:ext>
            </p:extLst>
          </p:nvPr>
        </p:nvGraphicFramePr>
        <p:xfrm>
          <a:off x="611560" y="1556792"/>
          <a:ext cx="813690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0" name="Diagramma 9"/>
          <p:cNvGraphicFramePr/>
          <p:nvPr>
            <p:extLst/>
          </p:nvPr>
        </p:nvGraphicFramePr>
        <p:xfrm>
          <a:off x="107504" y="692696"/>
          <a:ext cx="1872208" cy="648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2528450756"/>
              </p:ext>
            </p:extLst>
          </p:nvPr>
        </p:nvGraphicFramePr>
        <p:xfrm>
          <a:off x="1619672" y="2492896"/>
          <a:ext cx="6048672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</p:spTree>
    <p:extLst>
      <p:ext uri="{BB962C8B-B14F-4D97-AF65-F5344CB8AC3E}">
        <p14:creationId xmlns:p14="http://schemas.microsoft.com/office/powerpoint/2010/main" val="838821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a 3"/>
          <p:cNvGraphicFramePr/>
          <p:nvPr>
            <p:extLst/>
          </p:nvPr>
        </p:nvGraphicFramePr>
        <p:xfrm>
          <a:off x="6516216" y="692696"/>
          <a:ext cx="2448272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Diagramma 5"/>
          <p:cNvGraphicFramePr/>
          <p:nvPr>
            <p:extLst>
              <p:ext uri="{D42A27DB-BD31-4B8C-83A1-F6EECF244321}">
                <p14:modId xmlns:p14="http://schemas.microsoft.com/office/powerpoint/2010/main" val="3117537539"/>
              </p:ext>
            </p:extLst>
          </p:nvPr>
        </p:nvGraphicFramePr>
        <p:xfrm>
          <a:off x="611560" y="2348880"/>
          <a:ext cx="8136904" cy="10081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0" name="Diagramma 9"/>
          <p:cNvGraphicFramePr/>
          <p:nvPr>
            <p:extLst/>
          </p:nvPr>
        </p:nvGraphicFramePr>
        <p:xfrm>
          <a:off x="107504" y="692696"/>
          <a:ext cx="1872208" cy="648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2" name="CasellaDiTesto 1"/>
          <p:cNvSpPr txBox="1"/>
          <p:nvPr/>
        </p:nvSpPr>
        <p:spPr>
          <a:xfrm>
            <a:off x="1403648" y="1340768"/>
            <a:ext cx="63367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b="1" dirty="0" smtClean="0"/>
              <a:t>Sicilia: Follower o Leader?</a:t>
            </a:r>
            <a:endParaRPr lang="it-IT" sz="2400" b="1" dirty="0"/>
          </a:p>
        </p:txBody>
      </p:sp>
      <p:graphicFrame>
        <p:nvGraphicFramePr>
          <p:cNvPr id="5" name="Diagramma 4"/>
          <p:cNvGraphicFramePr/>
          <p:nvPr>
            <p:extLst>
              <p:ext uri="{D42A27DB-BD31-4B8C-83A1-F6EECF244321}">
                <p14:modId xmlns:p14="http://schemas.microsoft.com/office/powerpoint/2010/main" val="1614981076"/>
              </p:ext>
            </p:extLst>
          </p:nvPr>
        </p:nvGraphicFramePr>
        <p:xfrm>
          <a:off x="1043608" y="3789040"/>
          <a:ext cx="7056784" cy="23861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sp>
        <p:nvSpPr>
          <p:cNvPr id="11" name="Freccia a destra 10"/>
          <p:cNvSpPr/>
          <p:nvPr/>
        </p:nvSpPr>
        <p:spPr>
          <a:xfrm>
            <a:off x="251520" y="4077072"/>
            <a:ext cx="504056" cy="288032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Freccia a destra 11"/>
          <p:cNvSpPr/>
          <p:nvPr/>
        </p:nvSpPr>
        <p:spPr>
          <a:xfrm>
            <a:off x="266553" y="5301208"/>
            <a:ext cx="504056" cy="288032"/>
          </a:xfrm>
          <a:prstGeom prst="righ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2190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/>
          <p:cNvSpPr/>
          <p:nvPr/>
        </p:nvSpPr>
        <p:spPr>
          <a:xfrm>
            <a:off x="0" y="812431"/>
            <a:ext cx="9036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chemeClr val="accent1">
                    <a:lumMod val="75000"/>
                  </a:schemeClr>
                </a:solidFill>
              </a:rPr>
              <a:t>La condivisione del piano di lavoro per la raccolta dei </a:t>
            </a:r>
            <a:r>
              <a:rPr lang="it-IT" sz="3200" b="1" dirty="0" smtClean="0">
                <a:solidFill>
                  <a:schemeClr val="accent1">
                    <a:lumMod val="75000"/>
                  </a:schemeClr>
                </a:solidFill>
              </a:rPr>
              <a:t>contributi (1)  </a:t>
            </a:r>
            <a:r>
              <a:rPr lang="it-IT" sz="3200" dirty="0"/>
              <a:t/>
            </a:r>
            <a:br>
              <a:rPr lang="it-IT" sz="3200" dirty="0"/>
            </a:br>
            <a:endParaRPr lang="it-IT" sz="3200" dirty="0"/>
          </a:p>
        </p:txBody>
      </p:sp>
      <p:graphicFrame>
        <p:nvGraphicFramePr>
          <p:cNvPr id="2" name="Diagramma 1"/>
          <p:cNvGraphicFramePr/>
          <p:nvPr>
            <p:extLst>
              <p:ext uri="{D42A27DB-BD31-4B8C-83A1-F6EECF244321}">
                <p14:modId xmlns:p14="http://schemas.microsoft.com/office/powerpoint/2010/main" val="2235330666"/>
              </p:ext>
            </p:extLst>
          </p:nvPr>
        </p:nvGraphicFramePr>
        <p:xfrm>
          <a:off x="94936" y="1589221"/>
          <a:ext cx="8928992" cy="4840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05562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27"/>
          <p:cNvSpPr/>
          <p:nvPr/>
        </p:nvSpPr>
        <p:spPr>
          <a:xfrm>
            <a:off x="0" y="812431"/>
            <a:ext cx="9036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3200" b="1" dirty="0">
                <a:solidFill>
                  <a:srgbClr val="4F81BD">
                    <a:lumMod val="75000"/>
                  </a:srgbClr>
                </a:solidFill>
              </a:rPr>
              <a:t>La condivisione del piano di lavoro per la raccolta dei </a:t>
            </a:r>
            <a:r>
              <a:rPr lang="it-IT" sz="3200" b="1" dirty="0" smtClean="0">
                <a:solidFill>
                  <a:srgbClr val="4F81BD">
                    <a:lumMod val="75000"/>
                  </a:srgbClr>
                </a:solidFill>
              </a:rPr>
              <a:t>contributi (2)  </a:t>
            </a:r>
            <a:r>
              <a:rPr lang="it-IT" sz="3200" dirty="0">
                <a:solidFill>
                  <a:prstClr val="black"/>
                </a:solidFill>
              </a:rPr>
              <a:t/>
            </a:r>
            <a:br>
              <a:rPr lang="it-IT" sz="3200" dirty="0">
                <a:solidFill>
                  <a:prstClr val="black"/>
                </a:solidFill>
              </a:rPr>
            </a:br>
            <a:endParaRPr lang="it-IT" sz="3200" dirty="0">
              <a:solidFill>
                <a:prstClr val="black"/>
              </a:solidFill>
            </a:endParaRPr>
          </a:p>
        </p:txBody>
      </p:sp>
      <p:graphicFrame>
        <p:nvGraphicFramePr>
          <p:cNvPr id="2" name="Diagramma 1"/>
          <p:cNvGraphicFramePr/>
          <p:nvPr>
            <p:extLst/>
          </p:nvPr>
        </p:nvGraphicFramePr>
        <p:xfrm>
          <a:off x="90376" y="2132856"/>
          <a:ext cx="8928992" cy="41440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092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gallery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899592" y="1556792"/>
            <a:ext cx="741682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4000" dirty="0" smtClean="0">
                <a:solidFill>
                  <a:prstClr val="black"/>
                </a:solidFill>
                <a:hlinkClick r:id="rId2"/>
              </a:rPr>
              <a:t>www.innovatoripa.it</a:t>
            </a:r>
            <a:endParaRPr lang="it-IT" sz="4000" dirty="0" smtClean="0">
              <a:solidFill>
                <a:prstClr val="black"/>
              </a:solidFill>
            </a:endParaRPr>
          </a:p>
          <a:p>
            <a:pPr algn="ctr"/>
            <a:endParaRPr lang="it-IT" sz="3200" dirty="0" smtClean="0">
              <a:solidFill>
                <a:prstClr val="black"/>
              </a:solidFill>
            </a:endParaRPr>
          </a:p>
          <a:p>
            <a:pPr algn="ctr"/>
            <a:r>
              <a:rPr lang="it-IT" sz="3200" dirty="0" err="1" smtClean="0">
                <a:solidFill>
                  <a:prstClr val="black"/>
                </a:solidFill>
              </a:rPr>
              <a:t>Email</a:t>
            </a:r>
            <a:r>
              <a:rPr lang="it-IT" sz="3200" dirty="0" smtClean="0">
                <a:solidFill>
                  <a:prstClr val="black"/>
                </a:solidFill>
              </a:rPr>
              <a:t>:</a:t>
            </a:r>
          </a:p>
          <a:p>
            <a:pPr algn="ctr"/>
            <a:r>
              <a:rPr lang="it-IT" sz="3200" dirty="0" smtClean="0">
                <a:solidFill>
                  <a:prstClr val="black"/>
                </a:solidFill>
                <a:hlinkClick r:id="rId3"/>
              </a:rPr>
              <a:t>strategia.innovazione@regione.sicilia.it</a:t>
            </a:r>
            <a:r>
              <a:rPr lang="it-IT" sz="3200" dirty="0" smtClean="0">
                <a:solidFill>
                  <a:prstClr val="black"/>
                </a:solidFill>
              </a:rPr>
              <a:t> </a:t>
            </a:r>
            <a:endParaRPr lang="it-IT" sz="3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9709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1" name="Immagine 8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25500" y="2349500"/>
            <a:ext cx="7145338" cy="401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2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2627313" y="1285875"/>
            <a:ext cx="5016500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3 Passi per Partecipare</a:t>
            </a:r>
          </a:p>
        </p:txBody>
      </p:sp>
      <p:sp>
        <p:nvSpPr>
          <p:cNvPr id="40963" name="Ovale 7"/>
          <p:cNvSpPr>
            <a:spLocks noChangeArrowheads="1"/>
          </p:cNvSpPr>
          <p:nvPr/>
        </p:nvSpPr>
        <p:spPr bwMode="auto">
          <a:xfrm>
            <a:off x="6265863" y="2924175"/>
            <a:ext cx="1368425" cy="649288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0964" name="CasellaDiTesto 1"/>
          <p:cNvSpPr txBox="1">
            <a:spLocks noChangeArrowheads="1"/>
          </p:cNvSpPr>
          <p:nvPr/>
        </p:nvSpPr>
        <p:spPr bwMode="auto">
          <a:xfrm>
            <a:off x="3419475" y="1878013"/>
            <a:ext cx="43926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FF0000"/>
                </a:solidFill>
              </a:rPr>
              <a:t>ENTRARE SU INNOVATORIPA.IT E CLICCARE SU ACCEDI CON FORMEZAUTH</a:t>
            </a:r>
          </a:p>
        </p:txBody>
      </p:sp>
    </p:spTree>
    <p:extLst>
      <p:ext uri="{BB962C8B-B14F-4D97-AF65-F5344CB8AC3E}">
        <p14:creationId xmlns:p14="http://schemas.microsoft.com/office/powerpoint/2010/main" val="4232864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3563938" y="1285875"/>
            <a:ext cx="4079875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3 Passi per Partecipare</a:t>
            </a:r>
          </a:p>
        </p:txBody>
      </p:sp>
      <p:pic>
        <p:nvPicPr>
          <p:cNvPr id="41986" name="Immagin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46200" y="2420938"/>
            <a:ext cx="6916738" cy="3887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87" name="Ovale 3"/>
          <p:cNvSpPr>
            <a:spLocks noChangeArrowheads="1"/>
          </p:cNvSpPr>
          <p:nvPr/>
        </p:nvSpPr>
        <p:spPr bwMode="auto">
          <a:xfrm>
            <a:off x="2195513" y="5300663"/>
            <a:ext cx="1368425" cy="649287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1988" name="CasellaDiTesto 6"/>
          <p:cNvSpPr txBox="1">
            <a:spLocks noChangeArrowheads="1"/>
          </p:cNvSpPr>
          <p:nvPr/>
        </p:nvSpPr>
        <p:spPr bwMode="auto">
          <a:xfrm>
            <a:off x="3419475" y="1878013"/>
            <a:ext cx="4392613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>
                <a:solidFill>
                  <a:srgbClr val="FF0000"/>
                </a:solidFill>
              </a:rPr>
              <a:t>CLICCARE SU REGISTRATI E CREARE UN PROFILO SULLA PIATTAFORMA  INNOVATORIPA</a:t>
            </a:r>
          </a:p>
        </p:txBody>
      </p:sp>
    </p:spTree>
    <p:extLst>
      <p:ext uri="{BB962C8B-B14F-4D97-AF65-F5344CB8AC3E}">
        <p14:creationId xmlns:p14="http://schemas.microsoft.com/office/powerpoint/2010/main" val="41733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Rectangle 7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4683125" y="1285875"/>
            <a:ext cx="2960688" cy="6429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>
              <a:lnSpc>
                <a:spcPct val="118000"/>
              </a:lnSpc>
            </a:pPr>
            <a:r>
              <a:rPr lang="it-IT" smtClean="0">
                <a:solidFill>
                  <a:srgbClr val="2D2D8B"/>
                </a:solidFill>
                <a:latin typeface="Arial-BoldMT"/>
                <a:ea typeface="Arial-BoldMT"/>
                <a:cs typeface="Arial-BoldMT"/>
              </a:rPr>
              <a:t> Partecipa</a:t>
            </a:r>
          </a:p>
        </p:txBody>
      </p:sp>
      <p:pic>
        <p:nvPicPr>
          <p:cNvPr id="43010" name="Immagine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213" y="2420938"/>
            <a:ext cx="7559675" cy="425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1" name="Ovale 3"/>
          <p:cNvSpPr>
            <a:spLocks noChangeArrowheads="1"/>
          </p:cNvSpPr>
          <p:nvPr/>
        </p:nvSpPr>
        <p:spPr bwMode="auto">
          <a:xfrm>
            <a:off x="5795963" y="4941888"/>
            <a:ext cx="1368425" cy="647700"/>
          </a:xfrm>
          <a:prstGeom prst="ellipse">
            <a:avLst/>
          </a:prstGeom>
          <a:noFill/>
          <a:ln w="9525" algn="ctr">
            <a:solidFill>
              <a:srgbClr val="FF0000"/>
            </a:solidFill>
            <a:round/>
            <a:headEnd/>
            <a:tailEnd/>
          </a:ln>
        </p:spPr>
        <p:txBody>
          <a:bodyPr/>
          <a:lstStyle/>
          <a:p>
            <a:endParaRPr lang="it-IT">
              <a:solidFill>
                <a:srgbClr val="000000"/>
              </a:solidFill>
            </a:endParaRPr>
          </a:p>
        </p:txBody>
      </p:sp>
      <p:sp>
        <p:nvSpPr>
          <p:cNvPr id="43012" name="CasellaDiTesto 5"/>
          <p:cNvSpPr txBox="1">
            <a:spLocks noChangeArrowheads="1"/>
          </p:cNvSpPr>
          <p:nvPr/>
        </p:nvSpPr>
        <p:spPr bwMode="auto">
          <a:xfrm>
            <a:off x="3203575" y="1878013"/>
            <a:ext cx="5184775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it-IT" sz="1400" dirty="0" smtClean="0">
                <a:solidFill>
                  <a:srgbClr val="FF0000"/>
                </a:solidFill>
              </a:rPr>
              <a:t>CERCARE </a:t>
            </a:r>
            <a:r>
              <a:rPr lang="it-IT" sz="1400" dirty="0">
                <a:solidFill>
                  <a:srgbClr val="FF0000"/>
                </a:solidFill>
              </a:rPr>
              <a:t>TRA LE COMMUNITY «STRATEGIA INNOVAZIONE SICILIA» E CLICCARE SU PARTECIPA. </a:t>
            </a:r>
          </a:p>
        </p:txBody>
      </p:sp>
    </p:spTree>
    <p:extLst>
      <p:ext uri="{BB962C8B-B14F-4D97-AF65-F5344CB8AC3E}">
        <p14:creationId xmlns:p14="http://schemas.microsoft.com/office/powerpoint/2010/main" val="41811038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4001122630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23919095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883558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a 1"/>
          <p:cNvGraphicFramePr/>
          <p:nvPr>
            <p:extLst/>
          </p:nvPr>
        </p:nvGraphicFramePr>
        <p:xfrm>
          <a:off x="185051" y="1687374"/>
          <a:ext cx="1794661" cy="453332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olo 1"/>
          <p:cNvSpPr txBox="1">
            <a:spLocks/>
          </p:cNvSpPr>
          <p:nvPr/>
        </p:nvSpPr>
        <p:spPr bwMode="auto">
          <a:xfrm>
            <a:off x="467544" y="804783"/>
            <a:ext cx="7769469" cy="663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3231" rIns="0" bIns="0"/>
          <a:lstStyle>
            <a:defPPr lvl="0">
              <a:buSzPct val="45000"/>
              <a:buFont typeface="StarSymbol"/>
              <a:buNone/>
              <a:defRPr/>
            </a:defPPr>
            <a:lvl1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lvl="1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lvl="2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lvl="3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lvl="4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lvl="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lvl="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lvl="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lvl="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>
              <a:buNone/>
            </a:pPr>
            <a:r>
              <a:rPr lang="it-IT" sz="4000" dirty="0">
                <a:solidFill>
                  <a:schemeClr val="accent1">
                    <a:lumMod val="75000"/>
                  </a:schemeClr>
                </a:solidFill>
              </a:rPr>
              <a:t>Modalità di </a:t>
            </a:r>
            <a:r>
              <a:rPr lang="it-IT" sz="4000" dirty="0" smtClean="0">
                <a:solidFill>
                  <a:schemeClr val="accent1">
                    <a:lumMod val="75000"/>
                  </a:schemeClr>
                </a:solidFill>
              </a:rPr>
              <a:t>lavoro (1)</a:t>
            </a:r>
            <a:endParaRPr lang="it-IT" sz="40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Segnaposto contenuto 4"/>
          <p:cNvGraphicFramePr>
            <a:graphicFrameLocks/>
          </p:cNvGraphicFramePr>
          <p:nvPr/>
        </p:nvGraphicFramePr>
        <p:xfrm>
          <a:off x="1184709" y="1567870"/>
          <a:ext cx="7574833" cy="72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5" name="Diagramma 4"/>
          <p:cNvGraphicFramePr/>
          <p:nvPr>
            <p:extLst/>
          </p:nvPr>
        </p:nvGraphicFramePr>
        <p:xfrm>
          <a:off x="2312057" y="1900215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aphicFrame>
        <p:nvGraphicFramePr>
          <p:cNvPr id="6" name="Diagramma 5"/>
          <p:cNvGraphicFramePr/>
          <p:nvPr>
            <p:extLst/>
          </p:nvPr>
        </p:nvGraphicFramePr>
        <p:xfrm>
          <a:off x="6699005" y="1833746"/>
          <a:ext cx="2127006" cy="838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7" r:lo="rId18" r:qs="rId19" r:cs="rId20"/>
          </a:graphicData>
        </a:graphic>
      </p:graphicFrame>
      <p:grpSp>
        <p:nvGrpSpPr>
          <p:cNvPr id="8" name="Gruppo 7"/>
          <p:cNvGrpSpPr/>
          <p:nvPr/>
        </p:nvGrpSpPr>
        <p:grpSpPr>
          <a:xfrm>
            <a:off x="6765475" y="5223661"/>
            <a:ext cx="2125797" cy="997034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9" name="Rettangolo 8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ttangolo 9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Lavoro a distanza  e/o in presenza</a:t>
              </a:r>
            </a:p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Entro il 21 maggio 2014</a:t>
              </a:r>
            </a:p>
          </p:txBody>
        </p:sp>
      </p:grpSp>
      <p:grpSp>
        <p:nvGrpSpPr>
          <p:cNvPr id="11" name="Gruppo 10"/>
          <p:cNvGrpSpPr/>
          <p:nvPr/>
        </p:nvGrpSpPr>
        <p:grpSpPr>
          <a:xfrm>
            <a:off x="1979713" y="5290130"/>
            <a:ext cx="2125797" cy="705401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2" name="Rettangolo 11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ttangolo 12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A distanza</a:t>
              </a:r>
            </a:p>
          </p:txBody>
        </p:sp>
      </p:grpSp>
      <p:grpSp>
        <p:nvGrpSpPr>
          <p:cNvPr id="14" name="Gruppo 13"/>
          <p:cNvGrpSpPr/>
          <p:nvPr/>
        </p:nvGrpSpPr>
        <p:grpSpPr>
          <a:xfrm>
            <a:off x="1913244" y="1966684"/>
            <a:ext cx="2125797" cy="705401"/>
            <a:chOff x="1308" y="27903"/>
            <a:chExt cx="2302947" cy="764184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5" name="Rettangolo 14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 contourW="19050" prstMaterial="metal">
              <a:bevelT w="88900" h="203200"/>
              <a:bevelB w="165100" h="2540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ettangolo 15"/>
            <p:cNvSpPr/>
            <p:nvPr/>
          </p:nvSpPr>
          <p:spPr>
            <a:xfrm>
              <a:off x="1308" y="27903"/>
              <a:ext cx="2302947" cy="764184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In presenza</a:t>
              </a:r>
            </a:p>
            <a:p>
              <a:pPr algn="ctr" defTabSz="73857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1662" dirty="0"/>
                <a:t>29-30 maggio 2014</a:t>
              </a:r>
            </a:p>
          </p:txBody>
        </p:sp>
      </p:grpSp>
      <p:pic>
        <p:nvPicPr>
          <p:cNvPr id="17" name="Immagine 1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3695" y="3960751"/>
            <a:ext cx="1428135" cy="930565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sp>
        <p:nvSpPr>
          <p:cNvPr id="18" name="Freccia a sinistra 17"/>
          <p:cNvSpPr/>
          <p:nvPr/>
        </p:nvSpPr>
        <p:spPr bwMode="auto">
          <a:xfrm>
            <a:off x="6898412" y="4492503"/>
            <a:ext cx="398814" cy="398814"/>
          </a:xfrm>
          <a:prstGeom prst="leftArrow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3077" tIns="43200" rIns="83077" bIns="43200" numCol="1" rtlCol="0" anchor="ctr" anchorCtr="0" compatLnSpc="1">
            <a:prstTxWarp prst="textNoShape">
              <a:avLst/>
            </a:prstTxWarp>
          </a:bodyPr>
          <a:lstStyle/>
          <a:p>
            <a:pPr marL="11723" indent="-11723" algn="ctr" defTabSz="844083" fontAlgn="base">
              <a:spcBef>
                <a:spcPct val="50000"/>
              </a:spcBef>
              <a:spcAft>
                <a:spcPct val="0"/>
              </a:spcAft>
            </a:pPr>
            <a:endParaRPr lang="it-IT" sz="203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7297226" y="3561939"/>
            <a:ext cx="1594046" cy="341006"/>
          </a:xfrm>
          <a:prstGeom prst="rect">
            <a:avLst/>
          </a:prstGeom>
          <a:noFill/>
        </p:spPr>
        <p:txBody>
          <a:bodyPr wrap="square" lIns="84406" tIns="42203" rIns="84406" bIns="42203">
            <a:spAutoFit/>
          </a:bodyPr>
          <a:lstStyle/>
          <a:p>
            <a:pPr algn="ctr"/>
            <a:r>
              <a:rPr lang="it-IT" sz="1662" b="1" dirty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Innovatori PA</a:t>
            </a:r>
          </a:p>
        </p:txBody>
      </p:sp>
    </p:spTree>
    <p:extLst>
      <p:ext uri="{BB962C8B-B14F-4D97-AF65-F5344CB8AC3E}">
        <p14:creationId xmlns:p14="http://schemas.microsoft.com/office/powerpoint/2010/main" val="1466957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 txBox="1">
            <a:spLocks/>
          </p:cNvSpPr>
          <p:nvPr/>
        </p:nvSpPr>
        <p:spPr bwMode="auto">
          <a:xfrm>
            <a:off x="467544" y="836712"/>
            <a:ext cx="7769469" cy="663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3231" rIns="0" bIns="0"/>
          <a:lstStyle>
            <a:defPPr lvl="0">
              <a:buSzPct val="45000"/>
              <a:buFont typeface="StarSymbol"/>
              <a:buNone/>
              <a:defRPr/>
            </a:defPPr>
            <a:lvl1pPr lvl="0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defRPr>
            </a:lvl1pPr>
            <a:lvl2pPr lvl="1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2pPr>
            <a:lvl3pPr lvl="2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3pPr>
            <a:lvl4pPr lvl="3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4pPr>
            <a:lvl5pPr lvl="4"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5pPr>
            <a:lvl6pPr marL="457200" lvl="5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6pPr>
            <a:lvl7pPr marL="914400" lvl="6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7pPr>
            <a:lvl8pPr marL="1371600" lvl="7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8pPr>
            <a:lvl9pPr marL="1828800" lvl="8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SzPct val="45000"/>
              <a:buFont typeface="StarSymbol"/>
              <a:buChar char="●"/>
              <a:defRPr sz="3000" b="1">
                <a:solidFill>
                  <a:srgbClr val="646464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defRPr>
            </a:lvl9pPr>
          </a:lstStyle>
          <a:p>
            <a:pPr lvl="0">
              <a:buNone/>
            </a:pPr>
            <a:r>
              <a:rPr lang="it-IT" sz="2800" dirty="0">
                <a:solidFill>
                  <a:schemeClr val="accent1">
                    <a:lumMod val="75000"/>
                  </a:schemeClr>
                </a:solidFill>
              </a:rPr>
              <a:t>Modalità di lavoro </a:t>
            </a:r>
            <a:r>
              <a:rPr lang="it-IT" sz="2800" dirty="0" smtClean="0">
                <a:solidFill>
                  <a:schemeClr val="accent1">
                    <a:lumMod val="75000"/>
                  </a:schemeClr>
                </a:solidFill>
              </a:rPr>
              <a:t>(2)</a:t>
            </a:r>
            <a:endParaRPr lang="it-IT" sz="2800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Segnaposto contenuto 4"/>
          <p:cNvGraphicFramePr>
            <a:graphicFrameLocks/>
          </p:cNvGraphicFramePr>
          <p:nvPr/>
        </p:nvGraphicFramePr>
        <p:xfrm>
          <a:off x="1184709" y="1567870"/>
          <a:ext cx="7574833" cy="7297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po 4"/>
          <p:cNvGrpSpPr/>
          <p:nvPr/>
        </p:nvGrpSpPr>
        <p:grpSpPr>
          <a:xfrm>
            <a:off x="52113" y="1687374"/>
            <a:ext cx="1661723" cy="4533320"/>
            <a:chOff x="0" y="0"/>
            <a:chExt cx="1942318" cy="4911097"/>
          </a:xfrm>
          <a:scene3d>
            <a:camera prst="orthographicFront"/>
            <a:lightRig rig="flat" dir="t"/>
          </a:scene3d>
        </p:grpSpPr>
        <p:sp>
          <p:nvSpPr>
            <p:cNvPr id="6" name="Rettangolo arrotondato 5"/>
            <p:cNvSpPr/>
            <p:nvPr/>
          </p:nvSpPr>
          <p:spPr>
            <a:xfrm>
              <a:off x="0" y="0"/>
              <a:ext cx="1942318" cy="4911097"/>
            </a:xfrm>
            <a:prstGeom prst="roundRect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alpha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ttangolo 6"/>
            <p:cNvSpPr/>
            <p:nvPr/>
          </p:nvSpPr>
          <p:spPr>
            <a:xfrm>
              <a:off x="94816" y="94816"/>
              <a:ext cx="1752686" cy="47214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4406" tIns="42203" rIns="84406" bIns="42203" numCol="1" spcCol="1270" anchor="ctr" anchorCtr="0">
              <a:noAutofit/>
            </a:bodyPr>
            <a:lstStyle/>
            <a:p>
              <a:pPr algn="ctr" defTabSz="9847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2215" b="1" dirty="0"/>
                <a:t>TAVOLI TEMATICI</a:t>
              </a:r>
            </a:p>
          </p:txBody>
        </p:sp>
      </p:grpSp>
      <p:graphicFrame>
        <p:nvGraphicFramePr>
          <p:cNvPr id="8" name="Tabella 7"/>
          <p:cNvGraphicFramePr>
            <a:graphicFrameLocks noGrp="1"/>
          </p:cNvGraphicFramePr>
          <p:nvPr/>
        </p:nvGraphicFramePr>
        <p:xfrm>
          <a:off x="2710870" y="1633622"/>
          <a:ext cx="5121761" cy="4500166"/>
        </p:xfrm>
        <a:graphic>
          <a:graphicData uri="http://schemas.openxmlformats.org/drawingml/2006/table">
            <a:tbl>
              <a:tblPr/>
              <a:tblGrid>
                <a:gridCol w="1520061"/>
                <a:gridCol w="2132309"/>
                <a:gridCol w="348347"/>
                <a:gridCol w="253343"/>
                <a:gridCol w="392682"/>
                <a:gridCol w="475019"/>
              </a:tblGrid>
              <a:tr h="277758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it-IT" sz="17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IANO DI LAVORO TAVOLO TEMATIC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218660">
                <a:tc>
                  <a:txBody>
                    <a:bodyPr/>
                    <a:lstStyle/>
                    <a:p>
                      <a:pPr algn="l" fontAlgn="b"/>
                      <a:endParaRPr lang="it-IT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660"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mbito tematic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166950"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A9D08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it-IT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910" marR="5910" marT="591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775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ema di approfondiment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Questioni specifich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ntributi laboratori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</a:tr>
              <a:tr h="343534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sa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hi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ome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ntro il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 Sistema produttivo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 Quali sono i punti di forza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 Quali sono i punti di debolezza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 Quali sono i vantaggi competitiv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14183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Sistema  della conoscenza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. Chi sono gli attori pubblici e priva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 Quali  sono le competenze scientifiche attivate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 Quali sono gli ambiti di sviluppo tecnologico più importan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 Quali sono le linee di innovazione  e ricerca più promettent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 Chi e come è presente nelle reti extra-regional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 Indicazioni di priorit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1 A quali  esigenze/sfide del territorio rispondono 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3.2 Quali sono i/le segmenti/nicchie di attività più promettenti per il futuro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593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 Il contributo delle KET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 L'incidenza delle KET (Micro  elettronica, biotecnologie e ICT) 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  <a:tr h="28366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 Il potenziale ruolo dell'innovazione sociale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 C'è un possibile ruolo per l'innovazione sociale? Se si, quale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66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 Le intersezioni con altri ambiti tematici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  Sono rilevate intersezioni con altri ambiti tecnologici e produttivi.Quali?</a:t>
                      </a:r>
                    </a:p>
                  </a:txBody>
                  <a:tcPr marL="5910" marR="5910" marT="591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BC2E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5910" marR="5910" marT="591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" name="Diagramma 1"/>
          <p:cNvGraphicFramePr/>
          <p:nvPr>
            <p:extLst/>
          </p:nvPr>
        </p:nvGraphicFramePr>
        <p:xfrm>
          <a:off x="583865" y="1900215"/>
          <a:ext cx="9046471" cy="50895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4187262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2388494867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815822349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064870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a 6"/>
          <p:cNvGraphicFramePr/>
          <p:nvPr>
            <p:extLst>
              <p:ext uri="{D42A27DB-BD31-4B8C-83A1-F6EECF244321}">
                <p14:modId xmlns:p14="http://schemas.microsoft.com/office/powerpoint/2010/main" val="527505551"/>
              </p:ext>
            </p:extLst>
          </p:nvPr>
        </p:nvGraphicFramePr>
        <p:xfrm>
          <a:off x="1115616" y="764704"/>
          <a:ext cx="7272808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1" name="Diagramma 10"/>
          <p:cNvGraphicFramePr/>
          <p:nvPr>
            <p:extLst>
              <p:ext uri="{D42A27DB-BD31-4B8C-83A1-F6EECF244321}">
                <p14:modId xmlns:p14="http://schemas.microsoft.com/office/powerpoint/2010/main" val="3798691007"/>
              </p:ext>
            </p:extLst>
          </p:nvPr>
        </p:nvGraphicFramePr>
        <p:xfrm>
          <a:off x="107504" y="1484784"/>
          <a:ext cx="8928992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115934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7105116"/>
              </p:ext>
            </p:extLst>
          </p:nvPr>
        </p:nvGraphicFramePr>
        <p:xfrm>
          <a:off x="1115616" y="1700808"/>
          <a:ext cx="7200800" cy="3665830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45072"/>
                <a:gridCol w="974975"/>
                <a:gridCol w="5180753"/>
              </a:tblGrid>
              <a:tr h="36658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5:3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5:45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Introduzione lavori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4" gridSpan="2">
                  <a:txBody>
                    <a:bodyPr/>
                    <a:lstStyle/>
                    <a:p>
                      <a:pPr algn="ctr" fontAlgn="t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t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nuele Villa</a:t>
                      </a:r>
                      <a:endParaRPr lang="it-IT" sz="800" b="1" u="none" strike="noStrike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 fontAlgn="t"/>
                      <a:r>
                        <a:rPr lang="it-IT" sz="1600" b="1" i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sz="1400" b="1" i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Regione Siciliana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 rowSpan="4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hi siamo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Perché siamo qui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osa dobbiamo fare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Modalità di lavoro</a:t>
                      </a:r>
                      <a:endParaRPr lang="it-IT" sz="1400" b="1" i="1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66583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5:45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6:00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6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A che punto è la definizione della RIS 3 Sicilia</a:t>
                      </a:r>
                      <a:endParaRPr lang="it-IT" sz="1600" b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66583">
                <a:tc rowSpan="3" gridSpan="2">
                  <a:txBody>
                    <a:bodyPr/>
                    <a:lstStyle/>
                    <a:p>
                      <a:pPr algn="ctr" fontAlgn="t"/>
                      <a:endParaRPr lang="it-IT" sz="1600" b="1" u="none" strike="noStrike" dirty="0" smtClean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marL="0" algn="ctr" defTabSz="914400" rtl="0" eaLnBrk="1" fontAlgn="t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anuele Villa</a:t>
                      </a:r>
                    </a:p>
                    <a:p>
                      <a:pPr marL="0" algn="ctr" defTabSz="914400" rtl="0" eaLnBrk="1" fontAlgn="t" latinLnBrk="0" hangingPunct="1"/>
                      <a:r>
                        <a:rPr lang="it-IT" sz="1400" b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400" b="1" i="1" u="none" strike="noStrike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e Siciliana</a:t>
                      </a:r>
                      <a:endParaRPr lang="it-IT" sz="1400" b="1" i="1" u="none" strike="noStrike" kern="12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 rowSpan="3"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corso svolto</a:t>
                      </a: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ssime tappe</a:t>
                      </a:r>
                    </a:p>
                  </a:txBody>
                  <a:tcPr marL="9525" marR="9525" marT="9525" marB="0" anchor="b"/>
                </a:tc>
              </a:tr>
              <a:tr h="366583">
                <a:tc gridSpan="2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1400" b="1" u="none" strike="noStrik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ion, selezione priorità e policy mix</a:t>
                      </a:r>
                    </a:p>
                  </a:txBody>
                  <a:tcPr marL="9525" marR="9525" marT="9525" marB="0" anchor="b"/>
                </a:tc>
              </a:tr>
              <a:tr h="366583"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6:0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16:20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Interventi di </a:t>
                      </a:r>
                      <a:r>
                        <a:rPr lang="it-IT" sz="1600" b="1" u="none" strike="noStrike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chiarimenti / confronto </a:t>
                      </a:r>
                      <a:r>
                        <a:rPr lang="it-IT" sz="1600" b="1" u="none" strike="noStrike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</a:rPr>
                        <a:t>/ condivisione </a:t>
                      </a:r>
                      <a:endParaRPr lang="it-IT" sz="1600" b="1" i="0" u="none" strike="noStrike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Diagramma 6"/>
          <p:cNvGraphicFramePr/>
          <p:nvPr>
            <p:extLst/>
          </p:nvPr>
        </p:nvGraphicFramePr>
        <p:xfrm>
          <a:off x="1115616" y="1340768"/>
          <a:ext cx="7272808" cy="369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1743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28575" algn="ctr">
          <a:solidFill>
            <a:srgbClr val="FF0000"/>
          </a:solidFill>
          <a:round/>
          <a:headEnd/>
          <a:tailEnd type="triangl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3067</Words>
  <Application>Microsoft Office PowerPoint</Application>
  <PresentationFormat>Presentazione su schermo (4:3)</PresentationFormat>
  <Paragraphs>491</Paragraphs>
  <Slides>37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7</vt:i4>
      </vt:variant>
    </vt:vector>
  </HeadingPairs>
  <TitlesOfParts>
    <vt:vector size="40" baseType="lpstr">
      <vt:lpstr>Tema di Office</vt:lpstr>
      <vt:lpstr>3_Default Design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 A che punto è la definizione della RIS 3 Sicilia: prossime tappe Azioni previste e risultati attesi nei prossimi mesi  (aprile-dicembre 2014) </vt:lpstr>
      <vt:lpstr>La RIS 3 Sicilia ha avviato un processo per valorizzare  il potenziale individuato attraverso:</vt:lpstr>
      <vt:lpstr>Obiettivi</vt:lpstr>
      <vt:lpstr>Presentazione standard di PowerPoint</vt:lpstr>
      <vt:lpstr>Il perseguimento dei tre obiettivi verrà effettuato mediante un approccio logico duale  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 3 Passi per Partecipare</vt:lpstr>
      <vt:lpstr> 3 Passi per Partecipare</vt:lpstr>
      <vt:lpstr> Partecipa</vt:lpstr>
    </vt:vector>
  </TitlesOfParts>
  <Company>Hewlett-Pack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User</dc:creator>
  <cp:lastModifiedBy>User</cp:lastModifiedBy>
  <cp:revision>10</cp:revision>
  <dcterms:created xsi:type="dcterms:W3CDTF">2014-05-08T10:30:04Z</dcterms:created>
  <dcterms:modified xsi:type="dcterms:W3CDTF">2014-05-10T07:35:07Z</dcterms:modified>
</cp:coreProperties>
</file>